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8"/>
  </p:notesMasterIdLst>
  <p:sldIdLst>
    <p:sldId id="256" r:id="rId3"/>
    <p:sldId id="257" r:id="rId4"/>
    <p:sldId id="708" r:id="rId5"/>
    <p:sldId id="709" r:id="rId6"/>
    <p:sldId id="710" r:id="rId7"/>
    <p:sldId id="711" r:id="rId8"/>
    <p:sldId id="712" r:id="rId9"/>
    <p:sldId id="713" r:id="rId10"/>
    <p:sldId id="714" r:id="rId11"/>
    <p:sldId id="715" r:id="rId12"/>
    <p:sldId id="716" r:id="rId13"/>
    <p:sldId id="717" r:id="rId14"/>
    <p:sldId id="718" r:id="rId15"/>
    <p:sldId id="719" r:id="rId16"/>
    <p:sldId id="707" r:id="rId1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7" d="100"/>
          <a:sy n="97" d="100"/>
        </p:scale>
        <p:origin x="32" y="1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microsoft.com/office/2016/11/relationships/changesInfo" Target="changesInfos/changesInfo1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u, Liqi [MEDCN]" userId="60c3c451-a77f-4a0c-938c-6149a9593d24" providerId="ADAL" clId="{66414EFC-2040-472A-9D92-2C79318077FC}"/>
    <pc:docChg chg="modSld sldOrd">
      <pc:chgData name="Wu, Liqi [MEDCN]" userId="60c3c451-a77f-4a0c-938c-6149a9593d24" providerId="ADAL" clId="{66414EFC-2040-472A-9D92-2C79318077FC}" dt="2021-04-01T05:45:43.015" v="3"/>
      <pc:docMkLst>
        <pc:docMk/>
      </pc:docMkLst>
      <pc:sldChg chg="modSp mod">
        <pc:chgData name="Wu, Liqi [MEDCN]" userId="60c3c451-a77f-4a0c-938c-6149a9593d24" providerId="ADAL" clId="{66414EFC-2040-472A-9D92-2C79318077FC}" dt="2021-04-01T05:45:15.342" v="1" actId="403"/>
        <pc:sldMkLst>
          <pc:docMk/>
          <pc:sldMk cId="1283848558" sldId="257"/>
        </pc:sldMkLst>
        <pc:spChg chg="mod">
          <ac:chgData name="Wu, Liqi [MEDCN]" userId="60c3c451-a77f-4a0c-938c-6149a9593d24" providerId="ADAL" clId="{66414EFC-2040-472A-9D92-2C79318077FC}" dt="2021-04-01T05:45:15.342" v="1" actId="403"/>
          <ac:spMkLst>
            <pc:docMk/>
            <pc:sldMk cId="1283848558" sldId="257"/>
            <ac:spMk id="16" creationId="{2F967ACD-B0F4-4ECC-B06D-F92FC652E7C9}"/>
          </ac:spMkLst>
        </pc:spChg>
      </pc:sldChg>
      <pc:sldChg chg="ord">
        <pc:chgData name="Wu, Liqi [MEDCN]" userId="60c3c451-a77f-4a0c-938c-6149a9593d24" providerId="ADAL" clId="{66414EFC-2040-472A-9D92-2C79318077FC}" dt="2021-04-01T05:45:43.015" v="3"/>
        <pc:sldMkLst>
          <pc:docMk/>
          <pc:sldMk cId="2500374009" sldId="261"/>
        </pc:sldMkLst>
      </pc:sldChg>
    </pc:docChg>
  </pc:docChgLst>
  <pc:docChgLst>
    <pc:chgData name="Wu, Liqi [MEDCN]" userId="60c3c451-a77f-4a0c-938c-6149a9593d24" providerId="ADAL" clId="{CE41F5EE-B16D-4CBE-A89B-7B843CDFF5B2}"/>
    <pc:docChg chg="modSld">
      <pc:chgData name="Wu, Liqi [MEDCN]" userId="60c3c451-a77f-4a0c-938c-6149a9593d24" providerId="ADAL" clId="{CE41F5EE-B16D-4CBE-A89B-7B843CDFF5B2}" dt="2021-04-21T08:03:18.805" v="9"/>
      <pc:docMkLst>
        <pc:docMk/>
      </pc:docMkLst>
      <pc:sldChg chg="modSp mod">
        <pc:chgData name="Wu, Liqi [MEDCN]" userId="60c3c451-a77f-4a0c-938c-6149a9593d24" providerId="ADAL" clId="{CE41F5EE-B16D-4CBE-A89B-7B843CDFF5B2}" dt="2021-04-21T08:03:18.805" v="9"/>
        <pc:sldMkLst>
          <pc:docMk/>
          <pc:sldMk cId="3211641829" sldId="708"/>
        </pc:sldMkLst>
        <pc:spChg chg="mod">
          <ac:chgData name="Wu, Liqi [MEDCN]" userId="60c3c451-a77f-4a0c-938c-6149a9593d24" providerId="ADAL" clId="{CE41F5EE-B16D-4CBE-A89B-7B843CDFF5B2}" dt="2021-04-21T08:03:18.805" v="9"/>
          <ac:spMkLst>
            <pc:docMk/>
            <pc:sldMk cId="3211641829" sldId="708"/>
            <ac:spMk id="5" creationId="{20AEC317-DC5B-44B8-9D32-6B7724387BE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A4EB7F-63AC-498D-BA1F-BC554C2F3E90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03F17B-6BD3-4A7A-9C68-6AC73D914B9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3361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A3762F-D95F-46CB-8570-870C4835BB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8924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6C4654-A585-4768-97B7-C866CC2B12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6910FE75-067C-41A4-9D95-F831A973A5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70FDD96-96F7-412E-ADE1-2C7B7BBDCC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267424D-F368-479F-A229-7F015FD0B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D4B319B-9183-435F-BC75-F73FFE08B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12FB01D8-C575-4DA3-B5E4-14FD6E9ABB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6941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115D254-6D2C-40EB-86A1-0EF3F1B7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34E8301-99FC-431E-99E0-489DD733E5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6621C79-4A68-42D7-86F3-7A4AED93D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223030C-40D9-42C4-B796-B94831DFC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9B8178E-D7C3-43C2-B7C7-2C67CB094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93330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29C2116A-CD25-49FF-8667-744AD9626A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6FD1FEE5-005A-4F09-BFA9-065E5E7D33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9FF7FA5-A97E-4F98-96EA-F5F5574F6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E83F179-D985-460D-A6C9-E1ABD9C37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3E63D2E-9D04-4F6E-9079-D5DEEE035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68973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Graphic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016" y="-31559"/>
            <a:ext cx="12289365" cy="6912768"/>
          </a:xfrm>
          <a:prstGeom prst="rect">
            <a:avLst/>
          </a:prstGeom>
        </p:spPr>
      </p:pic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1310218" y="853172"/>
            <a:ext cx="5805211" cy="1014463"/>
          </a:xfrm>
        </p:spPr>
        <p:txBody>
          <a:bodyPr/>
          <a:lstStyle>
            <a:lvl1pPr>
              <a:lnSpc>
                <a:spcPts val="3651"/>
              </a:lnSpc>
              <a:defRPr sz="3000">
                <a:solidFill>
                  <a:srgbClr val="FE000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10218" y="2078901"/>
            <a:ext cx="5811985" cy="16558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sz="1200">
                <a:solidFill>
                  <a:srgbClr val="555457"/>
                </a:solidFill>
                <a:latin typeface="微软雅黑" panose="020B0503020204020204" pitchFamily="34" charset="-122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Presenter Name Here  /  Department  /  October 24, 2014</a:t>
            </a:r>
          </a:p>
        </p:txBody>
      </p:sp>
      <p:pic>
        <p:nvPicPr>
          <p:cNvPr id="11" name="Picture Placeholder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3529" y="6289154"/>
            <a:ext cx="2983576" cy="374329"/>
          </a:xfrm>
          <a:prstGeom prst="rect">
            <a:avLst/>
          </a:prstGeom>
        </p:spPr>
      </p:pic>
      <p:sp>
        <p:nvSpPr>
          <p:cNvPr id="8" name="Isosceles Triangle 7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73425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itleGraphic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016" y="-31559"/>
            <a:ext cx="12289365" cy="6912768"/>
          </a:xfrm>
          <a:prstGeom prst="rect">
            <a:avLst/>
          </a:prstGeom>
        </p:spPr>
      </p:pic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>
          <a:xfrm>
            <a:off x="4597402" y="3597714"/>
            <a:ext cx="6976535" cy="1376763"/>
          </a:xfrm>
        </p:spPr>
        <p:txBody>
          <a:bodyPr anchor="ctr" anchorCtr="0"/>
          <a:lstStyle>
            <a:lvl1pPr algn="r">
              <a:lnSpc>
                <a:spcPts val="3451"/>
              </a:lnSpc>
              <a:defRPr sz="2800">
                <a:solidFill>
                  <a:srgbClr val="FE000C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600472"/>
            <a:ext cx="658655" cy="1384928"/>
          </a:xfrm>
          <a:prstGeom prst="triangle">
            <a:avLst>
              <a:gd name="adj" fmla="val 50087"/>
            </a:avLst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179976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Option 1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128675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Option 2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050025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Option 3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561199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Option 4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892907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Option 5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082228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Option 6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20856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AAF6A93-422E-46B0-891D-87A379A31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2EE4038-0225-4DCF-976C-B8B63BAD7E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8065EC0-5F9C-41AD-86F7-4896E87532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2EBDBEA-3EFB-4FD5-9565-4AEDB03EA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BBFAA52-512E-4C0B-8ECF-F67FCC26C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12189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custom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9"/>
          </p:nvPr>
        </p:nvSpPr>
        <p:spPr>
          <a:xfrm>
            <a:off x="0" y="-3176"/>
            <a:ext cx="12192000" cy="6867525"/>
          </a:xfrm>
          <a:custGeom>
            <a:avLst/>
            <a:gdLst>
              <a:gd name="connsiteX0" fmla="*/ 0 w 9144000"/>
              <a:gd name="connsiteY0" fmla="*/ 0 h 6867525"/>
              <a:gd name="connsiteX1" fmla="*/ 9144000 w 9144000"/>
              <a:gd name="connsiteY1" fmla="*/ 0 h 6867525"/>
              <a:gd name="connsiteX2" fmla="*/ 9144000 w 9144000"/>
              <a:gd name="connsiteY2" fmla="*/ 6858000 h 6867525"/>
              <a:gd name="connsiteX3" fmla="*/ 0 w 9144000"/>
              <a:gd name="connsiteY3" fmla="*/ 6867525 h 6867525"/>
              <a:gd name="connsiteX4" fmla="*/ 0 w 9144000"/>
              <a:gd name="connsiteY4" fmla="*/ 4604499 h 6867525"/>
              <a:gd name="connsiteX5" fmla="*/ 982663 w 9144000"/>
              <a:gd name="connsiteY5" fmla="*/ 4292937 h 6867525"/>
              <a:gd name="connsiteX6" fmla="*/ 0 w 9144000"/>
              <a:gd name="connsiteY6" fmla="*/ 3981376 h 6867525"/>
              <a:gd name="connsiteX7" fmla="*/ 0 w 9144000"/>
              <a:gd name="connsiteY7" fmla="*/ 0 h 6867525"/>
              <a:gd name="connsiteX0" fmla="*/ 0 w 9144000"/>
              <a:gd name="connsiteY0" fmla="*/ 0 h 6867525"/>
              <a:gd name="connsiteX1" fmla="*/ 9144000 w 9144000"/>
              <a:gd name="connsiteY1" fmla="*/ 0 h 6867525"/>
              <a:gd name="connsiteX2" fmla="*/ 9144000 w 9144000"/>
              <a:gd name="connsiteY2" fmla="*/ 6867525 h 6867525"/>
              <a:gd name="connsiteX3" fmla="*/ 0 w 9144000"/>
              <a:gd name="connsiteY3" fmla="*/ 6867525 h 6867525"/>
              <a:gd name="connsiteX4" fmla="*/ 0 w 9144000"/>
              <a:gd name="connsiteY4" fmla="*/ 4604499 h 6867525"/>
              <a:gd name="connsiteX5" fmla="*/ 982663 w 9144000"/>
              <a:gd name="connsiteY5" fmla="*/ 4292937 h 6867525"/>
              <a:gd name="connsiteX6" fmla="*/ 0 w 9144000"/>
              <a:gd name="connsiteY6" fmla="*/ 3981376 h 6867525"/>
              <a:gd name="connsiteX7" fmla="*/ 0 w 9144000"/>
              <a:gd name="connsiteY7" fmla="*/ 0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67525">
                <a:moveTo>
                  <a:pt x="0" y="0"/>
                </a:moveTo>
                <a:lnTo>
                  <a:pt x="9144000" y="0"/>
                </a:lnTo>
                <a:lnTo>
                  <a:pt x="9144000" y="6867525"/>
                </a:lnTo>
                <a:lnTo>
                  <a:pt x="0" y="6867525"/>
                </a:lnTo>
                <a:lnTo>
                  <a:pt x="0" y="4604499"/>
                </a:lnTo>
                <a:lnTo>
                  <a:pt x="982663" y="4292937"/>
                </a:lnTo>
                <a:lnTo>
                  <a:pt x="0" y="3981376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t" anchorCtr="1"/>
          <a:lstStyle/>
          <a:p>
            <a:endParaRPr lang="en-US" dirty="0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8" hasCustomPrompt="1"/>
          </p:nvPr>
        </p:nvSpPr>
        <p:spPr>
          <a:xfrm>
            <a:off x="-8300" y="4294647"/>
            <a:ext cx="12253217" cy="2595103"/>
          </a:xfrm>
          <a:custGeom>
            <a:avLst/>
            <a:gdLst>
              <a:gd name="connsiteX0" fmla="*/ 0 w 9161463"/>
              <a:gd name="connsiteY0" fmla="*/ 0 h 3797300"/>
              <a:gd name="connsiteX1" fmla="*/ 9161463 w 9161463"/>
              <a:gd name="connsiteY1" fmla="*/ 0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9138783 w 9161463"/>
              <a:gd name="connsiteY1" fmla="*/ 2789695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679157 w 9161463"/>
              <a:gd name="connsiteY1" fmla="*/ 208569 h 3797300"/>
              <a:gd name="connsiteX2" fmla="*/ 9138783 w 9161463"/>
              <a:gd name="connsiteY2" fmla="*/ 2789695 h 3797300"/>
              <a:gd name="connsiteX3" fmla="*/ 9161463 w 9161463"/>
              <a:gd name="connsiteY3" fmla="*/ 3797300 h 3797300"/>
              <a:gd name="connsiteX4" fmla="*/ 0 w 9161463"/>
              <a:gd name="connsiteY4" fmla="*/ 3797300 h 3797300"/>
              <a:gd name="connsiteX5" fmla="*/ 0 w 9161463"/>
              <a:gd name="connsiteY5" fmla="*/ 0 h 3797300"/>
              <a:gd name="connsiteX0" fmla="*/ 0 w 9161463"/>
              <a:gd name="connsiteY0" fmla="*/ 226105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6105 h 3588731"/>
              <a:gd name="connsiteX0" fmla="*/ 0 w 9161463"/>
              <a:gd name="connsiteY0" fmla="*/ 222930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2930 h 3588731"/>
              <a:gd name="connsiteX0" fmla="*/ 0 w 9466522"/>
              <a:gd name="connsiteY0" fmla="*/ 322535 h 3588731"/>
              <a:gd name="connsiteX1" fmla="*/ 984216 w 9466522"/>
              <a:gd name="connsiteY1" fmla="*/ 0 h 3588731"/>
              <a:gd name="connsiteX2" fmla="*/ 9443842 w 9466522"/>
              <a:gd name="connsiteY2" fmla="*/ 2581126 h 3588731"/>
              <a:gd name="connsiteX3" fmla="*/ 9466522 w 9466522"/>
              <a:gd name="connsiteY3" fmla="*/ 3588731 h 3588731"/>
              <a:gd name="connsiteX4" fmla="*/ 305059 w 9466522"/>
              <a:gd name="connsiteY4" fmla="*/ 3588731 h 3588731"/>
              <a:gd name="connsiteX5" fmla="*/ 0 w 9466522"/>
              <a:gd name="connsiteY5" fmla="*/ 322535 h 3588731"/>
              <a:gd name="connsiteX0" fmla="*/ 0 w 9466522"/>
              <a:gd name="connsiteY0" fmla="*/ 322535 h 3588731"/>
              <a:gd name="connsiteX1" fmla="*/ 984216 w 9466522"/>
              <a:gd name="connsiteY1" fmla="*/ 0 h 3588731"/>
              <a:gd name="connsiteX2" fmla="*/ 9443842 w 9466522"/>
              <a:gd name="connsiteY2" fmla="*/ 2581126 h 3588731"/>
              <a:gd name="connsiteX3" fmla="*/ 9466522 w 9466522"/>
              <a:gd name="connsiteY3" fmla="*/ 3588731 h 3588731"/>
              <a:gd name="connsiteX4" fmla="*/ 8846722 w 9466522"/>
              <a:gd name="connsiteY4" fmla="*/ 3439322 h 3588731"/>
              <a:gd name="connsiteX5" fmla="*/ 0 w 9466522"/>
              <a:gd name="connsiteY5" fmla="*/ 322535 h 3588731"/>
              <a:gd name="connsiteX0" fmla="*/ 0 w 9466522"/>
              <a:gd name="connsiteY0" fmla="*/ 322535 h 3588731"/>
              <a:gd name="connsiteX1" fmla="*/ 984216 w 9466522"/>
              <a:gd name="connsiteY1" fmla="*/ 0 h 3588731"/>
              <a:gd name="connsiteX2" fmla="*/ 9443842 w 9466522"/>
              <a:gd name="connsiteY2" fmla="*/ 2581126 h 3588731"/>
              <a:gd name="connsiteX3" fmla="*/ 9466522 w 9466522"/>
              <a:gd name="connsiteY3" fmla="*/ 3588731 h 3588731"/>
              <a:gd name="connsiteX4" fmla="*/ 0 w 9466522"/>
              <a:gd name="connsiteY4" fmla="*/ 322535 h 3588731"/>
              <a:gd name="connsiteX0" fmla="*/ 0 w 9443842"/>
              <a:gd name="connsiteY0" fmla="*/ 322535 h 3489126"/>
              <a:gd name="connsiteX1" fmla="*/ 984216 w 9443842"/>
              <a:gd name="connsiteY1" fmla="*/ 0 h 3489126"/>
              <a:gd name="connsiteX2" fmla="*/ 9443842 w 9443842"/>
              <a:gd name="connsiteY2" fmla="*/ 2581126 h 3489126"/>
              <a:gd name="connsiteX3" fmla="*/ 9167688 w 9443842"/>
              <a:gd name="connsiteY3" fmla="*/ 3489126 h 3489126"/>
              <a:gd name="connsiteX4" fmla="*/ 0 w 9443842"/>
              <a:gd name="connsiteY4" fmla="*/ 322535 h 3489126"/>
              <a:gd name="connsiteX0" fmla="*/ 0 w 9167688"/>
              <a:gd name="connsiteY0" fmla="*/ 322535 h 3489126"/>
              <a:gd name="connsiteX1" fmla="*/ 984216 w 9167688"/>
              <a:gd name="connsiteY1" fmla="*/ 0 h 3489126"/>
              <a:gd name="connsiteX2" fmla="*/ 9157459 w 9167688"/>
              <a:gd name="connsiteY2" fmla="*/ 2500196 h 3489126"/>
              <a:gd name="connsiteX3" fmla="*/ 9167688 w 9167688"/>
              <a:gd name="connsiteY3" fmla="*/ 3489126 h 3489126"/>
              <a:gd name="connsiteX4" fmla="*/ 0 w 9167688"/>
              <a:gd name="connsiteY4" fmla="*/ 322535 h 3489126"/>
              <a:gd name="connsiteX0" fmla="*/ 0 w 9167688"/>
              <a:gd name="connsiteY0" fmla="*/ 328885 h 3495476"/>
              <a:gd name="connsiteX1" fmla="*/ 996916 w 9167688"/>
              <a:gd name="connsiteY1" fmla="*/ 0 h 3495476"/>
              <a:gd name="connsiteX2" fmla="*/ 9157459 w 9167688"/>
              <a:gd name="connsiteY2" fmla="*/ 2506546 h 3495476"/>
              <a:gd name="connsiteX3" fmla="*/ 9167688 w 9167688"/>
              <a:gd name="connsiteY3" fmla="*/ 3495476 h 3495476"/>
              <a:gd name="connsiteX4" fmla="*/ 0 w 9167688"/>
              <a:gd name="connsiteY4" fmla="*/ 328885 h 3495476"/>
              <a:gd name="connsiteX0" fmla="*/ 0 w 9202613"/>
              <a:gd name="connsiteY0" fmla="*/ 313010 h 3495476"/>
              <a:gd name="connsiteX1" fmla="*/ 1031841 w 9202613"/>
              <a:gd name="connsiteY1" fmla="*/ 0 h 3495476"/>
              <a:gd name="connsiteX2" fmla="*/ 9192384 w 9202613"/>
              <a:gd name="connsiteY2" fmla="*/ 2506546 h 3495476"/>
              <a:gd name="connsiteX3" fmla="*/ 9202613 w 9202613"/>
              <a:gd name="connsiteY3" fmla="*/ 3495476 h 3495476"/>
              <a:gd name="connsiteX4" fmla="*/ 0 w 9202613"/>
              <a:gd name="connsiteY4" fmla="*/ 313010 h 3495476"/>
              <a:gd name="connsiteX0" fmla="*/ 0 w 9202613"/>
              <a:gd name="connsiteY0" fmla="*/ 313010 h 3495476"/>
              <a:gd name="connsiteX1" fmla="*/ 1031841 w 9202613"/>
              <a:gd name="connsiteY1" fmla="*/ 0 h 3495476"/>
              <a:gd name="connsiteX2" fmla="*/ 9109834 w 9202613"/>
              <a:gd name="connsiteY2" fmla="*/ 2560521 h 3495476"/>
              <a:gd name="connsiteX3" fmla="*/ 9202613 w 9202613"/>
              <a:gd name="connsiteY3" fmla="*/ 3495476 h 3495476"/>
              <a:gd name="connsiteX4" fmla="*/ 0 w 9202613"/>
              <a:gd name="connsiteY4" fmla="*/ 313010 h 3495476"/>
              <a:gd name="connsiteX0" fmla="*/ 0 w 9224134"/>
              <a:gd name="connsiteY0" fmla="*/ 313010 h 3495476"/>
              <a:gd name="connsiteX1" fmla="*/ 1031841 w 9224134"/>
              <a:gd name="connsiteY1" fmla="*/ 0 h 3495476"/>
              <a:gd name="connsiteX2" fmla="*/ 9224134 w 9224134"/>
              <a:gd name="connsiteY2" fmla="*/ 2468446 h 3495476"/>
              <a:gd name="connsiteX3" fmla="*/ 9202613 w 9224134"/>
              <a:gd name="connsiteY3" fmla="*/ 3495476 h 3495476"/>
              <a:gd name="connsiteX4" fmla="*/ 0 w 9224134"/>
              <a:gd name="connsiteY4" fmla="*/ 313010 h 3495476"/>
              <a:gd name="connsiteX0" fmla="*/ 0 w 9224134"/>
              <a:gd name="connsiteY0" fmla="*/ 313010 h 2838251"/>
              <a:gd name="connsiteX1" fmla="*/ 1031841 w 9224134"/>
              <a:gd name="connsiteY1" fmla="*/ 0 h 2838251"/>
              <a:gd name="connsiteX2" fmla="*/ 9224134 w 9224134"/>
              <a:gd name="connsiteY2" fmla="*/ 2468446 h 2838251"/>
              <a:gd name="connsiteX3" fmla="*/ 9078788 w 9224134"/>
              <a:gd name="connsiteY3" fmla="*/ 2838251 h 2838251"/>
              <a:gd name="connsiteX4" fmla="*/ 0 w 9224134"/>
              <a:gd name="connsiteY4" fmla="*/ 313010 h 2838251"/>
              <a:gd name="connsiteX0" fmla="*/ 0 w 9234363"/>
              <a:gd name="connsiteY0" fmla="*/ 313010 h 3114476"/>
              <a:gd name="connsiteX1" fmla="*/ 1031841 w 9234363"/>
              <a:gd name="connsiteY1" fmla="*/ 0 h 3114476"/>
              <a:gd name="connsiteX2" fmla="*/ 9224134 w 9234363"/>
              <a:gd name="connsiteY2" fmla="*/ 2468446 h 3114476"/>
              <a:gd name="connsiteX3" fmla="*/ 9234363 w 9234363"/>
              <a:gd name="connsiteY3" fmla="*/ 3114476 h 3114476"/>
              <a:gd name="connsiteX4" fmla="*/ 0 w 9234363"/>
              <a:gd name="connsiteY4" fmla="*/ 313010 h 3114476"/>
              <a:gd name="connsiteX0" fmla="*/ 0 w 9228013"/>
              <a:gd name="connsiteY0" fmla="*/ 313010 h 3104951"/>
              <a:gd name="connsiteX1" fmla="*/ 1031841 w 9228013"/>
              <a:gd name="connsiteY1" fmla="*/ 0 h 3104951"/>
              <a:gd name="connsiteX2" fmla="*/ 9224134 w 9228013"/>
              <a:gd name="connsiteY2" fmla="*/ 2468446 h 3104951"/>
              <a:gd name="connsiteX3" fmla="*/ 9228013 w 9228013"/>
              <a:gd name="connsiteY3" fmla="*/ 3104951 h 3104951"/>
              <a:gd name="connsiteX4" fmla="*/ 0 w 9228013"/>
              <a:gd name="connsiteY4" fmla="*/ 313010 h 3104951"/>
              <a:gd name="connsiteX0" fmla="*/ 0 w 9231188"/>
              <a:gd name="connsiteY0" fmla="*/ 325710 h 3104951"/>
              <a:gd name="connsiteX1" fmla="*/ 1035016 w 9231188"/>
              <a:gd name="connsiteY1" fmla="*/ 0 h 3104951"/>
              <a:gd name="connsiteX2" fmla="*/ 9227309 w 9231188"/>
              <a:gd name="connsiteY2" fmla="*/ 2468446 h 3104951"/>
              <a:gd name="connsiteX3" fmla="*/ 9231188 w 9231188"/>
              <a:gd name="connsiteY3" fmla="*/ 3104951 h 3104951"/>
              <a:gd name="connsiteX4" fmla="*/ 0 w 9231188"/>
              <a:gd name="connsiteY4" fmla="*/ 325710 h 3104951"/>
              <a:gd name="connsiteX0" fmla="*/ 0 w 9256588"/>
              <a:gd name="connsiteY0" fmla="*/ 322535 h 3104951"/>
              <a:gd name="connsiteX1" fmla="*/ 1060416 w 9256588"/>
              <a:gd name="connsiteY1" fmla="*/ 0 h 3104951"/>
              <a:gd name="connsiteX2" fmla="*/ 9252709 w 9256588"/>
              <a:gd name="connsiteY2" fmla="*/ 2468446 h 3104951"/>
              <a:gd name="connsiteX3" fmla="*/ 9256588 w 9256588"/>
              <a:gd name="connsiteY3" fmla="*/ 3104951 h 3104951"/>
              <a:gd name="connsiteX4" fmla="*/ 0 w 9256588"/>
              <a:gd name="connsiteY4" fmla="*/ 322535 h 3104951"/>
              <a:gd name="connsiteX0" fmla="*/ 0 w 9257810"/>
              <a:gd name="connsiteY0" fmla="*/ 322535 h 3104951"/>
              <a:gd name="connsiteX1" fmla="*/ 1060416 w 9257810"/>
              <a:gd name="connsiteY1" fmla="*/ 0 h 3104951"/>
              <a:gd name="connsiteX2" fmla="*/ 9257810 w 9257810"/>
              <a:gd name="connsiteY2" fmla="*/ 2473546 h 3104951"/>
              <a:gd name="connsiteX3" fmla="*/ 9256588 w 9257810"/>
              <a:gd name="connsiteY3" fmla="*/ 3104951 h 3104951"/>
              <a:gd name="connsiteX4" fmla="*/ 0 w 9257810"/>
              <a:gd name="connsiteY4" fmla="*/ 322535 h 3104951"/>
              <a:gd name="connsiteX0" fmla="*/ 0 w 9187960"/>
              <a:gd name="connsiteY0" fmla="*/ 309835 h 3104951"/>
              <a:gd name="connsiteX1" fmla="*/ 990566 w 9187960"/>
              <a:gd name="connsiteY1" fmla="*/ 0 h 3104951"/>
              <a:gd name="connsiteX2" fmla="*/ 9187960 w 9187960"/>
              <a:gd name="connsiteY2" fmla="*/ 2473546 h 3104951"/>
              <a:gd name="connsiteX3" fmla="*/ 9186738 w 9187960"/>
              <a:gd name="connsiteY3" fmla="*/ 3104951 h 3104951"/>
              <a:gd name="connsiteX4" fmla="*/ 0 w 9187960"/>
              <a:gd name="connsiteY4" fmla="*/ 309835 h 3104951"/>
              <a:gd name="connsiteX0" fmla="*/ 0 w 9187960"/>
              <a:gd name="connsiteY0" fmla="*/ 309835 h 3104951"/>
              <a:gd name="connsiteX1" fmla="*/ 990566 w 9187960"/>
              <a:gd name="connsiteY1" fmla="*/ 0 h 3104951"/>
              <a:gd name="connsiteX2" fmla="*/ 9187960 w 9187960"/>
              <a:gd name="connsiteY2" fmla="*/ 2473546 h 3104951"/>
              <a:gd name="connsiteX3" fmla="*/ 9186738 w 9187960"/>
              <a:gd name="connsiteY3" fmla="*/ 3104951 h 3104951"/>
              <a:gd name="connsiteX4" fmla="*/ 7578601 w 9187960"/>
              <a:gd name="connsiteY4" fmla="*/ 2614152 h 3104951"/>
              <a:gd name="connsiteX5" fmla="*/ 0 w 9187960"/>
              <a:gd name="connsiteY5" fmla="*/ 309835 h 3104951"/>
              <a:gd name="connsiteX0" fmla="*/ 0 w 9187960"/>
              <a:gd name="connsiteY0" fmla="*/ 309835 h 3104951"/>
              <a:gd name="connsiteX1" fmla="*/ 990566 w 9187960"/>
              <a:gd name="connsiteY1" fmla="*/ 0 h 3104951"/>
              <a:gd name="connsiteX2" fmla="*/ 9187960 w 9187960"/>
              <a:gd name="connsiteY2" fmla="*/ 2473546 h 3104951"/>
              <a:gd name="connsiteX3" fmla="*/ 9186738 w 9187960"/>
              <a:gd name="connsiteY3" fmla="*/ 3104951 h 3104951"/>
              <a:gd name="connsiteX4" fmla="*/ 7569076 w 9187960"/>
              <a:gd name="connsiteY4" fmla="*/ 2595102 h 3104951"/>
              <a:gd name="connsiteX5" fmla="*/ 0 w 9187960"/>
              <a:gd name="connsiteY5" fmla="*/ 309835 h 3104951"/>
              <a:gd name="connsiteX0" fmla="*/ 0 w 9187960"/>
              <a:gd name="connsiteY0" fmla="*/ 309835 h 2800151"/>
              <a:gd name="connsiteX1" fmla="*/ 990566 w 9187960"/>
              <a:gd name="connsiteY1" fmla="*/ 0 h 2800151"/>
              <a:gd name="connsiteX2" fmla="*/ 9187960 w 9187960"/>
              <a:gd name="connsiteY2" fmla="*/ 2473546 h 2800151"/>
              <a:gd name="connsiteX3" fmla="*/ 8843838 w 9187960"/>
              <a:gd name="connsiteY3" fmla="*/ 2800151 h 2800151"/>
              <a:gd name="connsiteX4" fmla="*/ 7569076 w 9187960"/>
              <a:gd name="connsiteY4" fmla="*/ 2595102 h 2800151"/>
              <a:gd name="connsiteX5" fmla="*/ 0 w 9187960"/>
              <a:gd name="connsiteY5" fmla="*/ 309835 h 2800151"/>
              <a:gd name="connsiteX0" fmla="*/ 0 w 9187960"/>
              <a:gd name="connsiteY0" fmla="*/ 309835 h 2800151"/>
              <a:gd name="connsiteX1" fmla="*/ 990566 w 9187960"/>
              <a:gd name="connsiteY1" fmla="*/ 0 h 2800151"/>
              <a:gd name="connsiteX2" fmla="*/ 9187960 w 9187960"/>
              <a:gd name="connsiteY2" fmla="*/ 2473546 h 2800151"/>
              <a:gd name="connsiteX3" fmla="*/ 8843838 w 9187960"/>
              <a:gd name="connsiteY3" fmla="*/ 2800151 h 2800151"/>
              <a:gd name="connsiteX4" fmla="*/ 7569076 w 9187960"/>
              <a:gd name="connsiteY4" fmla="*/ 2595102 h 2800151"/>
              <a:gd name="connsiteX5" fmla="*/ 0 w 9187960"/>
              <a:gd name="connsiteY5" fmla="*/ 309835 h 2800151"/>
              <a:gd name="connsiteX0" fmla="*/ 0 w 9187960"/>
              <a:gd name="connsiteY0" fmla="*/ 309835 h 2663626"/>
              <a:gd name="connsiteX1" fmla="*/ 990566 w 9187960"/>
              <a:gd name="connsiteY1" fmla="*/ 0 h 2663626"/>
              <a:gd name="connsiteX2" fmla="*/ 9187960 w 9187960"/>
              <a:gd name="connsiteY2" fmla="*/ 2473546 h 2663626"/>
              <a:gd name="connsiteX3" fmla="*/ 8815263 w 9187960"/>
              <a:gd name="connsiteY3" fmla="*/ 2663626 h 2663626"/>
              <a:gd name="connsiteX4" fmla="*/ 7569076 w 9187960"/>
              <a:gd name="connsiteY4" fmla="*/ 2595102 h 2663626"/>
              <a:gd name="connsiteX5" fmla="*/ 0 w 9187960"/>
              <a:gd name="connsiteY5" fmla="*/ 309835 h 2663626"/>
              <a:gd name="connsiteX0" fmla="*/ 0 w 9733911"/>
              <a:gd name="connsiteY0" fmla="*/ 309835 h 2741106"/>
              <a:gd name="connsiteX1" fmla="*/ 990566 w 9733911"/>
              <a:gd name="connsiteY1" fmla="*/ 0 h 2741106"/>
              <a:gd name="connsiteX2" fmla="*/ 9187960 w 9733911"/>
              <a:gd name="connsiteY2" fmla="*/ 2473546 h 2741106"/>
              <a:gd name="connsiteX3" fmla="*/ 8815263 w 9733911"/>
              <a:gd name="connsiteY3" fmla="*/ 2663626 h 2741106"/>
              <a:gd name="connsiteX4" fmla="*/ 7569076 w 9733911"/>
              <a:gd name="connsiteY4" fmla="*/ 2595102 h 2741106"/>
              <a:gd name="connsiteX5" fmla="*/ 0 w 9733911"/>
              <a:gd name="connsiteY5" fmla="*/ 309835 h 2741106"/>
              <a:gd name="connsiteX0" fmla="*/ 0 w 9187960"/>
              <a:gd name="connsiteY0" fmla="*/ 309835 h 2664983"/>
              <a:gd name="connsiteX1" fmla="*/ 990566 w 9187960"/>
              <a:gd name="connsiteY1" fmla="*/ 0 h 2664983"/>
              <a:gd name="connsiteX2" fmla="*/ 9187960 w 9187960"/>
              <a:gd name="connsiteY2" fmla="*/ 2473546 h 2664983"/>
              <a:gd name="connsiteX3" fmla="*/ 8815263 w 9187960"/>
              <a:gd name="connsiteY3" fmla="*/ 2663626 h 2664983"/>
              <a:gd name="connsiteX4" fmla="*/ 7569076 w 9187960"/>
              <a:gd name="connsiteY4" fmla="*/ 2595102 h 2664983"/>
              <a:gd name="connsiteX5" fmla="*/ 0 w 9187960"/>
              <a:gd name="connsiteY5" fmla="*/ 309835 h 2664983"/>
              <a:gd name="connsiteX0" fmla="*/ 0 w 9282953"/>
              <a:gd name="connsiteY0" fmla="*/ 309835 h 2661844"/>
              <a:gd name="connsiteX1" fmla="*/ 990566 w 9282953"/>
              <a:gd name="connsiteY1" fmla="*/ 0 h 2661844"/>
              <a:gd name="connsiteX2" fmla="*/ 9187960 w 9282953"/>
              <a:gd name="connsiteY2" fmla="*/ 2473546 h 2661844"/>
              <a:gd name="connsiteX3" fmla="*/ 9196263 w 9282953"/>
              <a:gd name="connsiteY3" fmla="*/ 2660451 h 2661844"/>
              <a:gd name="connsiteX4" fmla="*/ 7569076 w 9282953"/>
              <a:gd name="connsiteY4" fmla="*/ 2595102 h 2661844"/>
              <a:gd name="connsiteX5" fmla="*/ 0 w 9282953"/>
              <a:gd name="connsiteY5" fmla="*/ 309835 h 2661844"/>
              <a:gd name="connsiteX0" fmla="*/ 0 w 9196263"/>
              <a:gd name="connsiteY0" fmla="*/ 309835 h 2660451"/>
              <a:gd name="connsiteX1" fmla="*/ 990566 w 9196263"/>
              <a:gd name="connsiteY1" fmla="*/ 0 h 2660451"/>
              <a:gd name="connsiteX2" fmla="*/ 9187960 w 9196263"/>
              <a:gd name="connsiteY2" fmla="*/ 2473546 h 2660451"/>
              <a:gd name="connsiteX3" fmla="*/ 9196263 w 9196263"/>
              <a:gd name="connsiteY3" fmla="*/ 2660451 h 2660451"/>
              <a:gd name="connsiteX4" fmla="*/ 7569076 w 9196263"/>
              <a:gd name="connsiteY4" fmla="*/ 2595102 h 2660451"/>
              <a:gd name="connsiteX5" fmla="*/ 0 w 9196263"/>
              <a:gd name="connsiteY5" fmla="*/ 309835 h 2660451"/>
              <a:gd name="connsiteX0" fmla="*/ 0 w 9196263"/>
              <a:gd name="connsiteY0" fmla="*/ 309835 h 2660451"/>
              <a:gd name="connsiteX1" fmla="*/ 990566 w 9196263"/>
              <a:gd name="connsiteY1" fmla="*/ 0 h 2660451"/>
              <a:gd name="connsiteX2" fmla="*/ 9187960 w 9196263"/>
              <a:gd name="connsiteY2" fmla="*/ 2473546 h 2660451"/>
              <a:gd name="connsiteX3" fmla="*/ 9196263 w 9196263"/>
              <a:gd name="connsiteY3" fmla="*/ 2660451 h 2660451"/>
              <a:gd name="connsiteX4" fmla="*/ 7569076 w 9196263"/>
              <a:gd name="connsiteY4" fmla="*/ 2595102 h 2660451"/>
              <a:gd name="connsiteX5" fmla="*/ 0 w 9196263"/>
              <a:gd name="connsiteY5" fmla="*/ 309835 h 2660451"/>
              <a:gd name="connsiteX0" fmla="*/ 0 w 9189913"/>
              <a:gd name="connsiteY0" fmla="*/ 309835 h 2595102"/>
              <a:gd name="connsiteX1" fmla="*/ 990566 w 9189913"/>
              <a:gd name="connsiteY1" fmla="*/ 0 h 2595102"/>
              <a:gd name="connsiteX2" fmla="*/ 9187960 w 9189913"/>
              <a:gd name="connsiteY2" fmla="*/ 2473546 h 2595102"/>
              <a:gd name="connsiteX3" fmla="*/ 9189913 w 9189913"/>
              <a:gd name="connsiteY3" fmla="*/ 2590601 h 2595102"/>
              <a:gd name="connsiteX4" fmla="*/ 7569076 w 9189913"/>
              <a:gd name="connsiteY4" fmla="*/ 2595102 h 2595102"/>
              <a:gd name="connsiteX5" fmla="*/ 0 w 9189913"/>
              <a:gd name="connsiteY5" fmla="*/ 309835 h 259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89913" h="2595102">
                <a:moveTo>
                  <a:pt x="0" y="309835"/>
                </a:moveTo>
                <a:lnTo>
                  <a:pt x="990566" y="0"/>
                </a:lnTo>
                <a:lnTo>
                  <a:pt x="9187960" y="2473546"/>
                </a:lnTo>
                <a:lnTo>
                  <a:pt x="9189913" y="2590601"/>
                </a:lnTo>
                <a:lnTo>
                  <a:pt x="7569076" y="2595102"/>
                </a:lnTo>
                <a:lnTo>
                  <a:pt x="0" y="309835"/>
                </a:lnTo>
                <a:close/>
              </a:path>
            </a:pathLst>
          </a:custGeom>
          <a:gradFill flip="none" rotWithShape="1">
            <a:gsLst>
              <a:gs pos="0">
                <a:srgbClr val="D1E0D7">
                  <a:alpha val="70000"/>
                </a:srgbClr>
              </a:gs>
              <a:gs pos="100000">
                <a:srgbClr val="D1E0D7">
                  <a:alpha val="50000"/>
                </a:srgbClr>
              </a:gs>
            </a:gsLst>
            <a:lin ang="2100000" scaled="0"/>
            <a:tileRect/>
          </a:gradFill>
          <a:ln>
            <a:noFill/>
          </a:ln>
        </p:spPr>
        <p:txBody>
          <a:bodyPr bIns="868680" anchor="b" anchorCtr="1">
            <a:normAutofit/>
          </a:bodyPr>
          <a:lstStyle>
            <a:lvl1pPr algn="ctr">
              <a:defRPr sz="1000" baseline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r>
              <a:rPr lang="en-US" dirty="0"/>
              <a:t>ignore this box will appear blank in presentation mod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304241" y="1781352"/>
            <a:ext cx="10937949" cy="4986875"/>
          </a:xfrm>
          <a:custGeom>
            <a:avLst/>
            <a:gdLst>
              <a:gd name="connsiteX0" fmla="*/ 0 w 9150350"/>
              <a:gd name="connsiteY0" fmla="*/ 0 h 6113463"/>
              <a:gd name="connsiteX1" fmla="*/ 9150350 w 9150350"/>
              <a:gd name="connsiteY1" fmla="*/ 0 h 6113463"/>
              <a:gd name="connsiteX2" fmla="*/ 9150350 w 9150350"/>
              <a:gd name="connsiteY2" fmla="*/ 6113463 h 6113463"/>
              <a:gd name="connsiteX3" fmla="*/ 0 w 9150350"/>
              <a:gd name="connsiteY3" fmla="*/ 6113463 h 6113463"/>
              <a:gd name="connsiteX4" fmla="*/ 0 w 9150350"/>
              <a:gd name="connsiteY4" fmla="*/ 0 h 6113463"/>
              <a:gd name="connsiteX0" fmla="*/ 0 w 9150350"/>
              <a:gd name="connsiteY0" fmla="*/ 2744334 h 6113463"/>
              <a:gd name="connsiteX1" fmla="*/ 9150350 w 9150350"/>
              <a:gd name="connsiteY1" fmla="*/ 0 h 6113463"/>
              <a:gd name="connsiteX2" fmla="*/ 9150350 w 9150350"/>
              <a:gd name="connsiteY2" fmla="*/ 6113463 h 6113463"/>
              <a:gd name="connsiteX3" fmla="*/ 0 w 9150350"/>
              <a:gd name="connsiteY3" fmla="*/ 6113463 h 6113463"/>
              <a:gd name="connsiteX4" fmla="*/ 0 w 9150350"/>
              <a:gd name="connsiteY4" fmla="*/ 2744334 h 6113463"/>
              <a:gd name="connsiteX0" fmla="*/ 0 w 9161690"/>
              <a:gd name="connsiteY0" fmla="*/ 2778354 h 6147483"/>
              <a:gd name="connsiteX1" fmla="*/ 9161690 w 9161690"/>
              <a:gd name="connsiteY1" fmla="*/ 0 h 6147483"/>
              <a:gd name="connsiteX2" fmla="*/ 9150350 w 9161690"/>
              <a:gd name="connsiteY2" fmla="*/ 6147483 h 6147483"/>
              <a:gd name="connsiteX3" fmla="*/ 0 w 9161690"/>
              <a:gd name="connsiteY3" fmla="*/ 6147483 h 6147483"/>
              <a:gd name="connsiteX4" fmla="*/ 0 w 9161690"/>
              <a:gd name="connsiteY4" fmla="*/ 2778354 h 6147483"/>
              <a:gd name="connsiteX0" fmla="*/ 0 w 9161690"/>
              <a:gd name="connsiteY0" fmla="*/ 2787879 h 6147483"/>
              <a:gd name="connsiteX1" fmla="*/ 9161690 w 9161690"/>
              <a:gd name="connsiteY1" fmla="*/ 0 h 6147483"/>
              <a:gd name="connsiteX2" fmla="*/ 9150350 w 9161690"/>
              <a:gd name="connsiteY2" fmla="*/ 6147483 h 6147483"/>
              <a:gd name="connsiteX3" fmla="*/ 0 w 9161690"/>
              <a:gd name="connsiteY3" fmla="*/ 6147483 h 6147483"/>
              <a:gd name="connsiteX4" fmla="*/ 0 w 9161690"/>
              <a:gd name="connsiteY4" fmla="*/ 2787879 h 6147483"/>
              <a:gd name="connsiteX0" fmla="*/ 0 w 9152165"/>
              <a:gd name="connsiteY0" fmla="*/ 2797404 h 6157008"/>
              <a:gd name="connsiteX1" fmla="*/ 9152165 w 9152165"/>
              <a:gd name="connsiteY1" fmla="*/ 0 h 6157008"/>
              <a:gd name="connsiteX2" fmla="*/ 9150350 w 9152165"/>
              <a:gd name="connsiteY2" fmla="*/ 6157008 h 6157008"/>
              <a:gd name="connsiteX3" fmla="*/ 0 w 9152165"/>
              <a:gd name="connsiteY3" fmla="*/ 6157008 h 6157008"/>
              <a:gd name="connsiteX4" fmla="*/ 0 w 9152165"/>
              <a:gd name="connsiteY4" fmla="*/ 2797404 h 6157008"/>
              <a:gd name="connsiteX0" fmla="*/ 0 w 9152165"/>
              <a:gd name="connsiteY0" fmla="*/ 2797404 h 6157008"/>
              <a:gd name="connsiteX1" fmla="*/ 9152165 w 9152165"/>
              <a:gd name="connsiteY1" fmla="*/ 0 h 6157008"/>
              <a:gd name="connsiteX2" fmla="*/ 9150350 w 9152165"/>
              <a:gd name="connsiteY2" fmla="*/ 5104181 h 6157008"/>
              <a:gd name="connsiteX3" fmla="*/ 0 w 9152165"/>
              <a:gd name="connsiteY3" fmla="*/ 6157008 h 6157008"/>
              <a:gd name="connsiteX4" fmla="*/ 0 w 9152165"/>
              <a:gd name="connsiteY4" fmla="*/ 2797404 h 6157008"/>
              <a:gd name="connsiteX0" fmla="*/ 0 w 9152165"/>
              <a:gd name="connsiteY0" fmla="*/ 2797404 h 5120892"/>
              <a:gd name="connsiteX1" fmla="*/ 9152165 w 9152165"/>
              <a:gd name="connsiteY1" fmla="*/ 0 h 5120892"/>
              <a:gd name="connsiteX2" fmla="*/ 9150350 w 9152165"/>
              <a:gd name="connsiteY2" fmla="*/ 5104181 h 5120892"/>
              <a:gd name="connsiteX3" fmla="*/ 0 w 9152165"/>
              <a:gd name="connsiteY3" fmla="*/ 5120892 h 5120892"/>
              <a:gd name="connsiteX4" fmla="*/ 0 w 9152165"/>
              <a:gd name="connsiteY4" fmla="*/ 2797404 h 5120892"/>
              <a:gd name="connsiteX0" fmla="*/ 0 w 9152165"/>
              <a:gd name="connsiteY0" fmla="*/ 2797404 h 5137604"/>
              <a:gd name="connsiteX1" fmla="*/ 9152165 w 9152165"/>
              <a:gd name="connsiteY1" fmla="*/ 0 h 5137604"/>
              <a:gd name="connsiteX2" fmla="*/ 9150350 w 9152165"/>
              <a:gd name="connsiteY2" fmla="*/ 5104181 h 5137604"/>
              <a:gd name="connsiteX3" fmla="*/ 0 w 9152165"/>
              <a:gd name="connsiteY3" fmla="*/ 5137604 h 5137604"/>
              <a:gd name="connsiteX4" fmla="*/ 0 w 9152165"/>
              <a:gd name="connsiteY4" fmla="*/ 2797404 h 5137604"/>
              <a:gd name="connsiteX0" fmla="*/ 30603 w 9182768"/>
              <a:gd name="connsiteY0" fmla="*/ 2797404 h 5104181"/>
              <a:gd name="connsiteX1" fmla="*/ 9182768 w 9182768"/>
              <a:gd name="connsiteY1" fmla="*/ 0 h 5104181"/>
              <a:gd name="connsiteX2" fmla="*/ 9180953 w 9182768"/>
              <a:gd name="connsiteY2" fmla="*/ 5104181 h 5104181"/>
              <a:gd name="connsiteX3" fmla="*/ 0 w 9182768"/>
              <a:gd name="connsiteY3" fmla="*/ 5096802 h 5104181"/>
              <a:gd name="connsiteX4" fmla="*/ 30603 w 9182768"/>
              <a:gd name="connsiteY4" fmla="*/ 2797404 h 5104181"/>
              <a:gd name="connsiteX0" fmla="*/ 0 w 9198069"/>
              <a:gd name="connsiteY0" fmla="*/ 2817805 h 5104181"/>
              <a:gd name="connsiteX1" fmla="*/ 9198069 w 9198069"/>
              <a:gd name="connsiteY1" fmla="*/ 0 h 5104181"/>
              <a:gd name="connsiteX2" fmla="*/ 9196254 w 9198069"/>
              <a:gd name="connsiteY2" fmla="*/ 5104181 h 5104181"/>
              <a:gd name="connsiteX3" fmla="*/ 15301 w 9198069"/>
              <a:gd name="connsiteY3" fmla="*/ 5096802 h 5104181"/>
              <a:gd name="connsiteX4" fmla="*/ 0 w 9198069"/>
              <a:gd name="connsiteY4" fmla="*/ 2817805 h 5104181"/>
              <a:gd name="connsiteX0" fmla="*/ 1015009 w 9182768"/>
              <a:gd name="connsiteY0" fmla="*/ 2496486 h 5104181"/>
              <a:gd name="connsiteX1" fmla="*/ 9182768 w 9182768"/>
              <a:gd name="connsiteY1" fmla="*/ 0 h 5104181"/>
              <a:gd name="connsiteX2" fmla="*/ 9180953 w 9182768"/>
              <a:gd name="connsiteY2" fmla="*/ 5104181 h 5104181"/>
              <a:gd name="connsiteX3" fmla="*/ 0 w 9182768"/>
              <a:gd name="connsiteY3" fmla="*/ 5096802 h 5104181"/>
              <a:gd name="connsiteX4" fmla="*/ 1015009 w 9182768"/>
              <a:gd name="connsiteY4" fmla="*/ 2496486 h 5104181"/>
              <a:gd name="connsiteX0" fmla="*/ 0 w 8167759"/>
              <a:gd name="connsiteY0" fmla="*/ 2496486 h 5104181"/>
              <a:gd name="connsiteX1" fmla="*/ 8167759 w 8167759"/>
              <a:gd name="connsiteY1" fmla="*/ 0 h 5104181"/>
              <a:gd name="connsiteX2" fmla="*/ 8165944 w 8167759"/>
              <a:gd name="connsiteY2" fmla="*/ 5104181 h 5104181"/>
              <a:gd name="connsiteX3" fmla="*/ 6176758 w 8167759"/>
              <a:gd name="connsiteY3" fmla="*/ 4454163 h 5104181"/>
              <a:gd name="connsiteX4" fmla="*/ 0 w 8167759"/>
              <a:gd name="connsiteY4" fmla="*/ 2496486 h 5104181"/>
              <a:gd name="connsiteX0" fmla="*/ 0 w 8167759"/>
              <a:gd name="connsiteY0" fmla="*/ 2496486 h 5104181"/>
              <a:gd name="connsiteX1" fmla="*/ 8167759 w 8167759"/>
              <a:gd name="connsiteY1" fmla="*/ 0 h 5104181"/>
              <a:gd name="connsiteX2" fmla="*/ 8165944 w 8167759"/>
              <a:gd name="connsiteY2" fmla="*/ 5104181 h 5104181"/>
              <a:gd name="connsiteX3" fmla="*/ 0 w 8167759"/>
              <a:gd name="connsiteY3" fmla="*/ 2496486 h 5104181"/>
              <a:gd name="connsiteX0" fmla="*/ 0 w 8203462"/>
              <a:gd name="connsiteY0" fmla="*/ 2511787 h 5119482"/>
              <a:gd name="connsiteX1" fmla="*/ 8203462 w 8203462"/>
              <a:gd name="connsiteY1" fmla="*/ 0 h 5119482"/>
              <a:gd name="connsiteX2" fmla="*/ 8165944 w 8203462"/>
              <a:gd name="connsiteY2" fmla="*/ 5119482 h 5119482"/>
              <a:gd name="connsiteX3" fmla="*/ 0 w 8203462"/>
              <a:gd name="connsiteY3" fmla="*/ 2511787 h 5119482"/>
              <a:gd name="connsiteX0" fmla="*/ 0 w 8203462"/>
              <a:gd name="connsiteY0" fmla="*/ 2511787 h 4986874"/>
              <a:gd name="connsiteX1" fmla="*/ 8203462 w 8203462"/>
              <a:gd name="connsiteY1" fmla="*/ 0 h 4986874"/>
              <a:gd name="connsiteX2" fmla="*/ 8201647 w 8203462"/>
              <a:gd name="connsiteY2" fmla="*/ 4986874 h 4986874"/>
              <a:gd name="connsiteX3" fmla="*/ 0 w 8203462"/>
              <a:gd name="connsiteY3" fmla="*/ 2511787 h 4986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03462" h="4986874">
                <a:moveTo>
                  <a:pt x="0" y="2511787"/>
                </a:moveTo>
                <a:lnTo>
                  <a:pt x="8203462" y="0"/>
                </a:lnTo>
                <a:lnTo>
                  <a:pt x="8201647" y="4986874"/>
                </a:lnTo>
                <a:lnTo>
                  <a:pt x="0" y="2511787"/>
                </a:lnTo>
                <a:close/>
              </a:path>
            </a:pathLst>
          </a:custGeom>
          <a:gradFill flip="none" rotWithShape="1">
            <a:gsLst>
              <a:gs pos="0">
                <a:srgbClr val="73AC99">
                  <a:alpha val="75000"/>
                </a:srgbClr>
              </a:gs>
              <a:gs pos="100000">
                <a:srgbClr val="95CFBB">
                  <a:alpha val="1000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bIns="731520" anchor="ctr" anchorCtr="0">
            <a:normAutofit/>
          </a:bodyPr>
          <a:lstStyle>
            <a:lvl1pPr algn="ctr">
              <a:defRPr sz="1100" b="0" baseline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o not place image in this box, should sit on top of image, </a:t>
            </a:r>
            <a:br>
              <a:rPr lang="en-US" dirty="0"/>
            </a:br>
            <a:r>
              <a:rPr lang="en-US" dirty="0"/>
              <a:t>this text will not display in presentation mod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-77991" y="4591809"/>
            <a:ext cx="10108271" cy="2298355"/>
          </a:xfrm>
          <a:custGeom>
            <a:avLst/>
            <a:gdLst>
              <a:gd name="connsiteX0" fmla="*/ 0 w 9161463"/>
              <a:gd name="connsiteY0" fmla="*/ 0 h 3797300"/>
              <a:gd name="connsiteX1" fmla="*/ 9161463 w 9161463"/>
              <a:gd name="connsiteY1" fmla="*/ 0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9138783 w 9161463"/>
              <a:gd name="connsiteY1" fmla="*/ 2789695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679157 w 9161463"/>
              <a:gd name="connsiteY1" fmla="*/ 208569 h 3797300"/>
              <a:gd name="connsiteX2" fmla="*/ 9138783 w 9161463"/>
              <a:gd name="connsiteY2" fmla="*/ 2789695 h 3797300"/>
              <a:gd name="connsiteX3" fmla="*/ 9161463 w 9161463"/>
              <a:gd name="connsiteY3" fmla="*/ 3797300 h 3797300"/>
              <a:gd name="connsiteX4" fmla="*/ 0 w 9161463"/>
              <a:gd name="connsiteY4" fmla="*/ 3797300 h 3797300"/>
              <a:gd name="connsiteX5" fmla="*/ 0 w 9161463"/>
              <a:gd name="connsiteY5" fmla="*/ 0 h 3797300"/>
              <a:gd name="connsiteX0" fmla="*/ 0 w 9161463"/>
              <a:gd name="connsiteY0" fmla="*/ 226105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6105 h 3588731"/>
              <a:gd name="connsiteX0" fmla="*/ 0 w 9161463"/>
              <a:gd name="connsiteY0" fmla="*/ 222930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2930 h 3588731"/>
              <a:gd name="connsiteX0" fmla="*/ 0 w 9161463"/>
              <a:gd name="connsiteY0" fmla="*/ 222930 h 3588731"/>
              <a:gd name="connsiteX1" fmla="*/ 679157 w 9161463"/>
              <a:gd name="connsiteY1" fmla="*/ 0 h 3588731"/>
              <a:gd name="connsiteX2" fmla="*/ 8268833 w 9161463"/>
              <a:gd name="connsiteY2" fmla="*/ 2279501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2930 h 3588731"/>
              <a:gd name="connsiteX0" fmla="*/ 0 w 9161463"/>
              <a:gd name="connsiteY0" fmla="*/ 3588731 h 3588731"/>
              <a:gd name="connsiteX1" fmla="*/ 679157 w 9161463"/>
              <a:gd name="connsiteY1" fmla="*/ 0 h 3588731"/>
              <a:gd name="connsiteX2" fmla="*/ 8268833 w 9161463"/>
              <a:gd name="connsiteY2" fmla="*/ 2279501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0" fmla="*/ 29818 w 8482306"/>
              <a:gd name="connsiteY0" fmla="*/ 2283052 h 3588731"/>
              <a:gd name="connsiteX1" fmla="*/ 0 w 8482306"/>
              <a:gd name="connsiteY1" fmla="*/ 0 h 3588731"/>
              <a:gd name="connsiteX2" fmla="*/ 7589676 w 8482306"/>
              <a:gd name="connsiteY2" fmla="*/ 2279501 h 3588731"/>
              <a:gd name="connsiteX3" fmla="*/ 8482306 w 8482306"/>
              <a:gd name="connsiteY3" fmla="*/ 3588731 h 3588731"/>
              <a:gd name="connsiteX4" fmla="*/ 29818 w 8482306"/>
              <a:gd name="connsiteY4" fmla="*/ 2283052 h 3588731"/>
              <a:gd name="connsiteX0" fmla="*/ 29818 w 7589676"/>
              <a:gd name="connsiteY0" fmla="*/ 2283052 h 2283052"/>
              <a:gd name="connsiteX1" fmla="*/ 0 w 7589676"/>
              <a:gd name="connsiteY1" fmla="*/ 0 h 2283052"/>
              <a:gd name="connsiteX2" fmla="*/ 7589676 w 7589676"/>
              <a:gd name="connsiteY2" fmla="*/ 2279501 h 2283052"/>
              <a:gd name="connsiteX3" fmla="*/ 29818 w 7589676"/>
              <a:gd name="connsiteY3" fmla="*/ 2283052 h 2283052"/>
              <a:gd name="connsiteX0" fmla="*/ 14516 w 7574374"/>
              <a:gd name="connsiteY0" fmla="*/ 2288153 h 2288153"/>
              <a:gd name="connsiteX1" fmla="*/ 0 w 7574374"/>
              <a:gd name="connsiteY1" fmla="*/ 0 h 2288153"/>
              <a:gd name="connsiteX2" fmla="*/ 7574374 w 7574374"/>
              <a:gd name="connsiteY2" fmla="*/ 2284602 h 2288153"/>
              <a:gd name="connsiteX3" fmla="*/ 14516 w 7574374"/>
              <a:gd name="connsiteY3" fmla="*/ 2288153 h 2288153"/>
              <a:gd name="connsiteX0" fmla="*/ 739 w 7586100"/>
              <a:gd name="connsiteY0" fmla="*/ 2293254 h 2293254"/>
              <a:gd name="connsiteX1" fmla="*/ 11726 w 7586100"/>
              <a:gd name="connsiteY1" fmla="*/ 0 h 2293254"/>
              <a:gd name="connsiteX2" fmla="*/ 7586100 w 7586100"/>
              <a:gd name="connsiteY2" fmla="*/ 2284602 h 2293254"/>
              <a:gd name="connsiteX3" fmla="*/ 739 w 7586100"/>
              <a:gd name="connsiteY3" fmla="*/ 2293254 h 2293254"/>
              <a:gd name="connsiteX0" fmla="*/ 9416 w 7574374"/>
              <a:gd name="connsiteY0" fmla="*/ 2293254 h 2293254"/>
              <a:gd name="connsiteX1" fmla="*/ 0 w 7574374"/>
              <a:gd name="connsiteY1" fmla="*/ 0 h 2293254"/>
              <a:gd name="connsiteX2" fmla="*/ 7574374 w 7574374"/>
              <a:gd name="connsiteY2" fmla="*/ 2284602 h 2293254"/>
              <a:gd name="connsiteX3" fmla="*/ 9416 w 7574374"/>
              <a:gd name="connsiteY3" fmla="*/ 2293254 h 2293254"/>
              <a:gd name="connsiteX0" fmla="*/ 944 w 7581203"/>
              <a:gd name="connsiteY0" fmla="*/ 2298355 h 2298355"/>
              <a:gd name="connsiteX1" fmla="*/ 6829 w 7581203"/>
              <a:gd name="connsiteY1" fmla="*/ 0 h 2298355"/>
              <a:gd name="connsiteX2" fmla="*/ 7581203 w 7581203"/>
              <a:gd name="connsiteY2" fmla="*/ 2284602 h 2298355"/>
              <a:gd name="connsiteX3" fmla="*/ 944 w 7581203"/>
              <a:gd name="connsiteY3" fmla="*/ 2298355 h 2298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81203" h="2298355">
                <a:moveTo>
                  <a:pt x="944" y="2298355"/>
                </a:moveTo>
                <a:cubicBezTo>
                  <a:pt x="-3895" y="1535637"/>
                  <a:pt x="11668" y="762718"/>
                  <a:pt x="6829" y="0"/>
                </a:cubicBezTo>
                <a:lnTo>
                  <a:pt x="7581203" y="2284602"/>
                </a:lnTo>
                <a:lnTo>
                  <a:pt x="944" y="2298355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bIns="182880" anchor="b" anchorCtr="0">
            <a:normAutofit/>
          </a:bodyPr>
          <a:lstStyle>
            <a:lvl1pPr algn="ctr">
              <a:defRPr sz="1000" baseline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r>
              <a:rPr lang="en-US" dirty="0"/>
              <a:t>ignore this box will appear blank in presentation mode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4" name="Isosceles Triangle 13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519660" y="3095236"/>
            <a:ext cx="3178684" cy="1138773"/>
          </a:xfrm>
          <a:prstGeom prst="rect">
            <a:avLst/>
          </a:prstGeom>
          <a:solidFill>
            <a:srgbClr val="FF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50000"/>
                  </a:schemeClr>
                </a:solidFill>
                <a:latin typeface="微软雅黑" panose="020B0503020204020204" pitchFamily="34" charset="-122"/>
              </a:rPr>
              <a:t>NOTE: </a:t>
            </a:r>
          </a:p>
          <a:p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微软雅黑" panose="020B0503020204020204" pitchFamily="34" charset="-122"/>
              </a:rPr>
              <a:t>Drag photo to large box labeled “</a:t>
            </a:r>
            <a:r>
              <a:rPr lang="en-US" sz="1200" dirty="0" err="1">
                <a:solidFill>
                  <a:schemeClr val="tx1">
                    <a:lumMod val="50000"/>
                  </a:schemeClr>
                </a:solidFill>
                <a:latin typeface="微软雅黑" panose="020B0503020204020204" pitchFamily="34" charset="-122"/>
              </a:rPr>
              <a:t>Pictur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微软雅黑" panose="020B0503020204020204" pitchFamily="34" charset="-122"/>
              </a:rPr>
              <a:t>” and send to back, frosted boxes will be blank in presentation mode. </a:t>
            </a:r>
          </a:p>
        </p:txBody>
      </p:sp>
    </p:spTree>
    <p:extLst>
      <p:ext uri="{BB962C8B-B14F-4D97-AF65-F5344CB8AC3E}">
        <p14:creationId xmlns:p14="http://schemas.microsoft.com/office/powerpoint/2010/main" val="24858966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r - reverse custom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9" hasCustomPrompt="1"/>
          </p:nvPr>
        </p:nvSpPr>
        <p:spPr>
          <a:xfrm>
            <a:off x="3" y="1"/>
            <a:ext cx="12210113" cy="6889588"/>
          </a:xfrm>
          <a:custGeom>
            <a:avLst/>
            <a:gdLst>
              <a:gd name="connsiteX0" fmla="*/ 0 w 9144000"/>
              <a:gd name="connsiteY0" fmla="*/ 0 h 6867525"/>
              <a:gd name="connsiteX1" fmla="*/ 9144000 w 9144000"/>
              <a:gd name="connsiteY1" fmla="*/ 0 h 6867525"/>
              <a:gd name="connsiteX2" fmla="*/ 9144000 w 9144000"/>
              <a:gd name="connsiteY2" fmla="*/ 6858000 h 6867525"/>
              <a:gd name="connsiteX3" fmla="*/ 0 w 9144000"/>
              <a:gd name="connsiteY3" fmla="*/ 6867525 h 6867525"/>
              <a:gd name="connsiteX4" fmla="*/ 0 w 9144000"/>
              <a:gd name="connsiteY4" fmla="*/ 4604499 h 6867525"/>
              <a:gd name="connsiteX5" fmla="*/ 982663 w 9144000"/>
              <a:gd name="connsiteY5" fmla="*/ 4292937 h 6867525"/>
              <a:gd name="connsiteX6" fmla="*/ 0 w 9144000"/>
              <a:gd name="connsiteY6" fmla="*/ 3981376 h 6867525"/>
              <a:gd name="connsiteX7" fmla="*/ 0 w 9144000"/>
              <a:gd name="connsiteY7" fmla="*/ 0 h 6867525"/>
              <a:gd name="connsiteX0" fmla="*/ 0 w 9144000"/>
              <a:gd name="connsiteY0" fmla="*/ 0 h 6867525"/>
              <a:gd name="connsiteX1" fmla="*/ 9144000 w 9144000"/>
              <a:gd name="connsiteY1" fmla="*/ 0 h 6867525"/>
              <a:gd name="connsiteX2" fmla="*/ 9144000 w 9144000"/>
              <a:gd name="connsiteY2" fmla="*/ 6867525 h 6867525"/>
              <a:gd name="connsiteX3" fmla="*/ 0 w 9144000"/>
              <a:gd name="connsiteY3" fmla="*/ 6867525 h 6867525"/>
              <a:gd name="connsiteX4" fmla="*/ 0 w 9144000"/>
              <a:gd name="connsiteY4" fmla="*/ 4604499 h 6867525"/>
              <a:gd name="connsiteX5" fmla="*/ 982663 w 9144000"/>
              <a:gd name="connsiteY5" fmla="*/ 4292937 h 6867525"/>
              <a:gd name="connsiteX6" fmla="*/ 0 w 9144000"/>
              <a:gd name="connsiteY6" fmla="*/ 3981376 h 6867525"/>
              <a:gd name="connsiteX7" fmla="*/ 0 w 9144000"/>
              <a:gd name="connsiteY7" fmla="*/ 0 h 6867525"/>
              <a:gd name="connsiteX0" fmla="*/ 0 w 9144000"/>
              <a:gd name="connsiteY0" fmla="*/ 0 h 6867525"/>
              <a:gd name="connsiteX1" fmla="*/ 9144000 w 9144000"/>
              <a:gd name="connsiteY1" fmla="*/ 0 h 6867525"/>
              <a:gd name="connsiteX2" fmla="*/ 9135355 w 9144000"/>
              <a:gd name="connsiteY2" fmla="*/ 3162571 h 6867525"/>
              <a:gd name="connsiteX3" fmla="*/ 9144000 w 9144000"/>
              <a:gd name="connsiteY3" fmla="*/ 6867525 h 6867525"/>
              <a:gd name="connsiteX4" fmla="*/ 0 w 9144000"/>
              <a:gd name="connsiteY4" fmla="*/ 6867525 h 6867525"/>
              <a:gd name="connsiteX5" fmla="*/ 0 w 9144000"/>
              <a:gd name="connsiteY5" fmla="*/ 4604499 h 6867525"/>
              <a:gd name="connsiteX6" fmla="*/ 982663 w 9144000"/>
              <a:gd name="connsiteY6" fmla="*/ 4292937 h 6867525"/>
              <a:gd name="connsiteX7" fmla="*/ 0 w 9144000"/>
              <a:gd name="connsiteY7" fmla="*/ 3981376 h 6867525"/>
              <a:gd name="connsiteX8" fmla="*/ 0 w 9144000"/>
              <a:gd name="connsiteY8" fmla="*/ 0 h 6867525"/>
              <a:gd name="connsiteX0" fmla="*/ 0 w 9818777"/>
              <a:gd name="connsiteY0" fmla="*/ 0 h 6867525"/>
              <a:gd name="connsiteX1" fmla="*/ 9144000 w 9818777"/>
              <a:gd name="connsiteY1" fmla="*/ 0 h 6867525"/>
              <a:gd name="connsiteX2" fmla="*/ 9135355 w 9818777"/>
              <a:gd name="connsiteY2" fmla="*/ 3162571 h 6867525"/>
              <a:gd name="connsiteX3" fmla="*/ 9135355 w 9818777"/>
              <a:gd name="connsiteY3" fmla="*/ 4759575 h 6867525"/>
              <a:gd name="connsiteX4" fmla="*/ 9144000 w 9818777"/>
              <a:gd name="connsiteY4" fmla="*/ 6867525 h 6867525"/>
              <a:gd name="connsiteX5" fmla="*/ 0 w 9818777"/>
              <a:gd name="connsiteY5" fmla="*/ 6867525 h 6867525"/>
              <a:gd name="connsiteX6" fmla="*/ 0 w 9818777"/>
              <a:gd name="connsiteY6" fmla="*/ 4604499 h 6867525"/>
              <a:gd name="connsiteX7" fmla="*/ 982663 w 9818777"/>
              <a:gd name="connsiteY7" fmla="*/ 4292937 h 6867525"/>
              <a:gd name="connsiteX8" fmla="*/ 0 w 9818777"/>
              <a:gd name="connsiteY8" fmla="*/ 3981376 h 6867525"/>
              <a:gd name="connsiteX9" fmla="*/ 0 w 9818777"/>
              <a:gd name="connsiteY9" fmla="*/ 0 h 6867525"/>
              <a:gd name="connsiteX0" fmla="*/ 0 w 9818777"/>
              <a:gd name="connsiteY0" fmla="*/ 0 h 6867525"/>
              <a:gd name="connsiteX1" fmla="*/ 9144000 w 9818777"/>
              <a:gd name="connsiteY1" fmla="*/ 0 h 6867525"/>
              <a:gd name="connsiteX2" fmla="*/ 9135355 w 9818777"/>
              <a:gd name="connsiteY2" fmla="*/ 3162571 h 6867525"/>
              <a:gd name="connsiteX3" fmla="*/ 9135355 w 9818777"/>
              <a:gd name="connsiteY3" fmla="*/ 4759575 h 6867525"/>
              <a:gd name="connsiteX4" fmla="*/ 9144000 w 9818777"/>
              <a:gd name="connsiteY4" fmla="*/ 6867525 h 6867525"/>
              <a:gd name="connsiteX5" fmla="*/ 0 w 9818777"/>
              <a:gd name="connsiteY5" fmla="*/ 6867525 h 6867525"/>
              <a:gd name="connsiteX6" fmla="*/ 0 w 9818777"/>
              <a:gd name="connsiteY6" fmla="*/ 4604499 h 6867525"/>
              <a:gd name="connsiteX7" fmla="*/ 982663 w 9818777"/>
              <a:gd name="connsiteY7" fmla="*/ 4292937 h 6867525"/>
              <a:gd name="connsiteX8" fmla="*/ 0 w 9818777"/>
              <a:gd name="connsiteY8" fmla="*/ 3981376 h 6867525"/>
              <a:gd name="connsiteX9" fmla="*/ 0 w 9818777"/>
              <a:gd name="connsiteY9" fmla="*/ 0 h 6867525"/>
              <a:gd name="connsiteX0" fmla="*/ 0 w 9818777"/>
              <a:gd name="connsiteY0" fmla="*/ 0 h 6867525"/>
              <a:gd name="connsiteX1" fmla="*/ 9144000 w 9818777"/>
              <a:gd name="connsiteY1" fmla="*/ 0 h 6867525"/>
              <a:gd name="connsiteX2" fmla="*/ 9135355 w 9818777"/>
              <a:gd name="connsiteY2" fmla="*/ 3162571 h 6867525"/>
              <a:gd name="connsiteX3" fmla="*/ 9135355 w 9818777"/>
              <a:gd name="connsiteY3" fmla="*/ 4759575 h 6867525"/>
              <a:gd name="connsiteX4" fmla="*/ 9144000 w 9818777"/>
              <a:gd name="connsiteY4" fmla="*/ 6867525 h 6867525"/>
              <a:gd name="connsiteX5" fmla="*/ 0 w 9818777"/>
              <a:gd name="connsiteY5" fmla="*/ 6867525 h 6867525"/>
              <a:gd name="connsiteX6" fmla="*/ 0 w 9818777"/>
              <a:gd name="connsiteY6" fmla="*/ 4604499 h 6867525"/>
              <a:gd name="connsiteX7" fmla="*/ 982663 w 9818777"/>
              <a:gd name="connsiteY7" fmla="*/ 4292937 h 6867525"/>
              <a:gd name="connsiteX8" fmla="*/ 0 w 9818777"/>
              <a:gd name="connsiteY8" fmla="*/ 3981376 h 6867525"/>
              <a:gd name="connsiteX9" fmla="*/ 0 w 9818777"/>
              <a:gd name="connsiteY9" fmla="*/ 0 h 6867525"/>
              <a:gd name="connsiteX0" fmla="*/ 0 w 9818777"/>
              <a:gd name="connsiteY0" fmla="*/ 0 h 6867525"/>
              <a:gd name="connsiteX1" fmla="*/ 9144000 w 9818777"/>
              <a:gd name="connsiteY1" fmla="*/ 0 h 6867525"/>
              <a:gd name="connsiteX2" fmla="*/ 9135355 w 9818777"/>
              <a:gd name="connsiteY2" fmla="*/ 3162571 h 6867525"/>
              <a:gd name="connsiteX3" fmla="*/ 9135355 w 9818777"/>
              <a:gd name="connsiteY3" fmla="*/ 4759575 h 6867525"/>
              <a:gd name="connsiteX4" fmla="*/ 9144000 w 9818777"/>
              <a:gd name="connsiteY4" fmla="*/ 6867525 h 6867525"/>
              <a:gd name="connsiteX5" fmla="*/ 0 w 9818777"/>
              <a:gd name="connsiteY5" fmla="*/ 6867525 h 6867525"/>
              <a:gd name="connsiteX6" fmla="*/ 0 w 9818777"/>
              <a:gd name="connsiteY6" fmla="*/ 4604499 h 6867525"/>
              <a:gd name="connsiteX7" fmla="*/ 982663 w 9818777"/>
              <a:gd name="connsiteY7" fmla="*/ 4292937 h 6867525"/>
              <a:gd name="connsiteX8" fmla="*/ 0 w 9818777"/>
              <a:gd name="connsiteY8" fmla="*/ 3981376 h 6867525"/>
              <a:gd name="connsiteX9" fmla="*/ 0 w 9818777"/>
              <a:gd name="connsiteY9" fmla="*/ 0 h 6867525"/>
              <a:gd name="connsiteX0" fmla="*/ 0 w 9148259"/>
              <a:gd name="connsiteY0" fmla="*/ 0 h 6867525"/>
              <a:gd name="connsiteX1" fmla="*/ 9144000 w 9148259"/>
              <a:gd name="connsiteY1" fmla="*/ 0 h 6867525"/>
              <a:gd name="connsiteX2" fmla="*/ 9135355 w 9148259"/>
              <a:gd name="connsiteY2" fmla="*/ 3162571 h 6867525"/>
              <a:gd name="connsiteX3" fmla="*/ 9135355 w 9148259"/>
              <a:gd name="connsiteY3" fmla="*/ 4759575 h 6867525"/>
              <a:gd name="connsiteX4" fmla="*/ 9144000 w 9148259"/>
              <a:gd name="connsiteY4" fmla="*/ 6867525 h 6867525"/>
              <a:gd name="connsiteX5" fmla="*/ 0 w 9148259"/>
              <a:gd name="connsiteY5" fmla="*/ 6867525 h 6867525"/>
              <a:gd name="connsiteX6" fmla="*/ 0 w 9148259"/>
              <a:gd name="connsiteY6" fmla="*/ 4604499 h 6867525"/>
              <a:gd name="connsiteX7" fmla="*/ 982663 w 9148259"/>
              <a:gd name="connsiteY7" fmla="*/ 4292937 h 6867525"/>
              <a:gd name="connsiteX8" fmla="*/ 0 w 9148259"/>
              <a:gd name="connsiteY8" fmla="*/ 3981376 h 6867525"/>
              <a:gd name="connsiteX9" fmla="*/ 0 w 9148259"/>
              <a:gd name="connsiteY9" fmla="*/ 0 h 6867525"/>
              <a:gd name="connsiteX0" fmla="*/ 0 w 9148389"/>
              <a:gd name="connsiteY0" fmla="*/ 0 h 6867525"/>
              <a:gd name="connsiteX1" fmla="*/ 9144000 w 9148389"/>
              <a:gd name="connsiteY1" fmla="*/ 0 h 6867525"/>
              <a:gd name="connsiteX2" fmla="*/ 9135355 w 9148389"/>
              <a:gd name="connsiteY2" fmla="*/ 3162571 h 6867525"/>
              <a:gd name="connsiteX3" fmla="*/ 9129569 w 9148389"/>
              <a:gd name="connsiteY3" fmla="*/ 3383487 h 6867525"/>
              <a:gd name="connsiteX4" fmla="*/ 9135355 w 9148389"/>
              <a:gd name="connsiteY4" fmla="*/ 4759575 h 6867525"/>
              <a:gd name="connsiteX5" fmla="*/ 9144000 w 9148389"/>
              <a:gd name="connsiteY5" fmla="*/ 6867525 h 6867525"/>
              <a:gd name="connsiteX6" fmla="*/ 0 w 9148389"/>
              <a:gd name="connsiteY6" fmla="*/ 6867525 h 6867525"/>
              <a:gd name="connsiteX7" fmla="*/ 0 w 9148389"/>
              <a:gd name="connsiteY7" fmla="*/ 4604499 h 6867525"/>
              <a:gd name="connsiteX8" fmla="*/ 982663 w 9148389"/>
              <a:gd name="connsiteY8" fmla="*/ 4292937 h 6867525"/>
              <a:gd name="connsiteX9" fmla="*/ 0 w 9148389"/>
              <a:gd name="connsiteY9" fmla="*/ 3981376 h 6867525"/>
              <a:gd name="connsiteX10" fmla="*/ 0 w 9148389"/>
              <a:gd name="connsiteY10" fmla="*/ 0 h 6867525"/>
              <a:gd name="connsiteX0" fmla="*/ 0 w 9148389"/>
              <a:gd name="connsiteY0" fmla="*/ 0 h 6867525"/>
              <a:gd name="connsiteX1" fmla="*/ 9144000 w 9148389"/>
              <a:gd name="connsiteY1" fmla="*/ 0 h 6867525"/>
              <a:gd name="connsiteX2" fmla="*/ 9135355 w 9148389"/>
              <a:gd name="connsiteY2" fmla="*/ 3162571 h 6867525"/>
              <a:gd name="connsiteX3" fmla="*/ 9129569 w 9148389"/>
              <a:gd name="connsiteY3" fmla="*/ 3383487 h 6867525"/>
              <a:gd name="connsiteX4" fmla="*/ 9135355 w 9148389"/>
              <a:gd name="connsiteY4" fmla="*/ 4759575 h 6867525"/>
              <a:gd name="connsiteX5" fmla="*/ 9144000 w 9148389"/>
              <a:gd name="connsiteY5" fmla="*/ 6867525 h 6867525"/>
              <a:gd name="connsiteX6" fmla="*/ 0 w 9148389"/>
              <a:gd name="connsiteY6" fmla="*/ 6867525 h 6867525"/>
              <a:gd name="connsiteX7" fmla="*/ 0 w 9148389"/>
              <a:gd name="connsiteY7" fmla="*/ 4604499 h 6867525"/>
              <a:gd name="connsiteX8" fmla="*/ 982663 w 9148389"/>
              <a:gd name="connsiteY8" fmla="*/ 4292937 h 6867525"/>
              <a:gd name="connsiteX9" fmla="*/ 0 w 9148389"/>
              <a:gd name="connsiteY9" fmla="*/ 3981376 h 6867525"/>
              <a:gd name="connsiteX10" fmla="*/ 0 w 9148389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35355 w 9212874"/>
              <a:gd name="connsiteY2" fmla="*/ 3162571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35355 w 9212874"/>
              <a:gd name="connsiteY2" fmla="*/ 3162571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35355 w 9212874"/>
              <a:gd name="connsiteY2" fmla="*/ 3162571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35355 w 9212874"/>
              <a:gd name="connsiteY2" fmla="*/ 3162571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35355 w 9212874"/>
              <a:gd name="connsiteY2" fmla="*/ 3162571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4236 w 9212874"/>
              <a:gd name="connsiteY2" fmla="*/ 3837492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305736"/>
              <a:gd name="connsiteY0" fmla="*/ 0 h 6867525"/>
              <a:gd name="connsiteX1" fmla="*/ 9144000 w 9305736"/>
              <a:gd name="connsiteY1" fmla="*/ 0 h 6867525"/>
              <a:gd name="connsiteX2" fmla="*/ 9147411 w 9305736"/>
              <a:gd name="connsiteY2" fmla="*/ 3847017 h 6867525"/>
              <a:gd name="connsiteX3" fmla="*/ 8170431 w 9305736"/>
              <a:gd name="connsiteY3" fmla="*/ 4164975 h 6867525"/>
              <a:gd name="connsiteX4" fmla="*/ 9135355 w 9305736"/>
              <a:gd name="connsiteY4" fmla="*/ 4759575 h 6867525"/>
              <a:gd name="connsiteX5" fmla="*/ 9144000 w 9305736"/>
              <a:gd name="connsiteY5" fmla="*/ 6867525 h 6867525"/>
              <a:gd name="connsiteX6" fmla="*/ 0 w 9305736"/>
              <a:gd name="connsiteY6" fmla="*/ 6867525 h 6867525"/>
              <a:gd name="connsiteX7" fmla="*/ 0 w 9305736"/>
              <a:gd name="connsiteY7" fmla="*/ 4604499 h 6867525"/>
              <a:gd name="connsiteX8" fmla="*/ 982663 w 9305736"/>
              <a:gd name="connsiteY8" fmla="*/ 4292937 h 6867525"/>
              <a:gd name="connsiteX9" fmla="*/ 0 w 9305736"/>
              <a:gd name="connsiteY9" fmla="*/ 3981376 h 6867525"/>
              <a:gd name="connsiteX10" fmla="*/ 0 w 9305736"/>
              <a:gd name="connsiteY10" fmla="*/ 0 h 6867525"/>
              <a:gd name="connsiteX0" fmla="*/ 0 w 9308045"/>
              <a:gd name="connsiteY0" fmla="*/ 0 h 6867525"/>
              <a:gd name="connsiteX1" fmla="*/ 9144000 w 9308045"/>
              <a:gd name="connsiteY1" fmla="*/ 0 h 6867525"/>
              <a:gd name="connsiteX2" fmla="*/ 9147411 w 9308045"/>
              <a:gd name="connsiteY2" fmla="*/ 3847017 h 6867525"/>
              <a:gd name="connsiteX3" fmla="*/ 8170431 w 9308045"/>
              <a:gd name="connsiteY3" fmla="*/ 4164975 h 6867525"/>
              <a:gd name="connsiteX4" fmla="*/ 9138530 w 9308045"/>
              <a:gd name="connsiteY4" fmla="*/ 4565900 h 6867525"/>
              <a:gd name="connsiteX5" fmla="*/ 9144000 w 9308045"/>
              <a:gd name="connsiteY5" fmla="*/ 6867525 h 6867525"/>
              <a:gd name="connsiteX6" fmla="*/ 0 w 9308045"/>
              <a:gd name="connsiteY6" fmla="*/ 6867525 h 6867525"/>
              <a:gd name="connsiteX7" fmla="*/ 0 w 9308045"/>
              <a:gd name="connsiteY7" fmla="*/ 4604499 h 6867525"/>
              <a:gd name="connsiteX8" fmla="*/ 982663 w 9308045"/>
              <a:gd name="connsiteY8" fmla="*/ 4292937 h 6867525"/>
              <a:gd name="connsiteX9" fmla="*/ 0 w 9308045"/>
              <a:gd name="connsiteY9" fmla="*/ 3981376 h 6867525"/>
              <a:gd name="connsiteX10" fmla="*/ 0 w 9308045"/>
              <a:gd name="connsiteY10" fmla="*/ 0 h 6867525"/>
              <a:gd name="connsiteX0" fmla="*/ 0 w 9315021"/>
              <a:gd name="connsiteY0" fmla="*/ 0 h 6867525"/>
              <a:gd name="connsiteX1" fmla="*/ 9144000 w 9315021"/>
              <a:gd name="connsiteY1" fmla="*/ 0 h 6867525"/>
              <a:gd name="connsiteX2" fmla="*/ 9147411 w 9315021"/>
              <a:gd name="connsiteY2" fmla="*/ 3847017 h 6867525"/>
              <a:gd name="connsiteX3" fmla="*/ 8170431 w 9315021"/>
              <a:gd name="connsiteY3" fmla="*/ 4164975 h 6867525"/>
              <a:gd name="connsiteX4" fmla="*/ 9148055 w 9315021"/>
              <a:gd name="connsiteY4" fmla="*/ 4473825 h 6867525"/>
              <a:gd name="connsiteX5" fmla="*/ 9144000 w 9315021"/>
              <a:gd name="connsiteY5" fmla="*/ 6867525 h 6867525"/>
              <a:gd name="connsiteX6" fmla="*/ 0 w 9315021"/>
              <a:gd name="connsiteY6" fmla="*/ 6867525 h 6867525"/>
              <a:gd name="connsiteX7" fmla="*/ 0 w 9315021"/>
              <a:gd name="connsiteY7" fmla="*/ 4604499 h 6867525"/>
              <a:gd name="connsiteX8" fmla="*/ 982663 w 9315021"/>
              <a:gd name="connsiteY8" fmla="*/ 4292937 h 6867525"/>
              <a:gd name="connsiteX9" fmla="*/ 0 w 9315021"/>
              <a:gd name="connsiteY9" fmla="*/ 3981376 h 6867525"/>
              <a:gd name="connsiteX10" fmla="*/ 0 w 9315021"/>
              <a:gd name="connsiteY10" fmla="*/ 0 h 6867525"/>
              <a:gd name="connsiteX0" fmla="*/ 0 w 9151014"/>
              <a:gd name="connsiteY0" fmla="*/ 0 h 6867525"/>
              <a:gd name="connsiteX1" fmla="*/ 9144000 w 9151014"/>
              <a:gd name="connsiteY1" fmla="*/ 0 h 6867525"/>
              <a:gd name="connsiteX2" fmla="*/ 9147411 w 9151014"/>
              <a:gd name="connsiteY2" fmla="*/ 3847017 h 6867525"/>
              <a:gd name="connsiteX3" fmla="*/ 8170431 w 9151014"/>
              <a:gd name="connsiteY3" fmla="*/ 4164975 h 6867525"/>
              <a:gd name="connsiteX4" fmla="*/ 9148055 w 9151014"/>
              <a:gd name="connsiteY4" fmla="*/ 4473825 h 6867525"/>
              <a:gd name="connsiteX5" fmla="*/ 9144000 w 9151014"/>
              <a:gd name="connsiteY5" fmla="*/ 6867525 h 6867525"/>
              <a:gd name="connsiteX6" fmla="*/ 0 w 9151014"/>
              <a:gd name="connsiteY6" fmla="*/ 6867525 h 6867525"/>
              <a:gd name="connsiteX7" fmla="*/ 0 w 9151014"/>
              <a:gd name="connsiteY7" fmla="*/ 4604499 h 6867525"/>
              <a:gd name="connsiteX8" fmla="*/ 982663 w 9151014"/>
              <a:gd name="connsiteY8" fmla="*/ 4292937 h 6867525"/>
              <a:gd name="connsiteX9" fmla="*/ 0 w 9151014"/>
              <a:gd name="connsiteY9" fmla="*/ 3981376 h 6867525"/>
              <a:gd name="connsiteX10" fmla="*/ 0 w 9151014"/>
              <a:gd name="connsiteY10" fmla="*/ 0 h 6867525"/>
              <a:gd name="connsiteX0" fmla="*/ 0 w 9151052"/>
              <a:gd name="connsiteY0" fmla="*/ 0 h 6867525"/>
              <a:gd name="connsiteX1" fmla="*/ 9144000 w 9151052"/>
              <a:gd name="connsiteY1" fmla="*/ 0 h 6867525"/>
              <a:gd name="connsiteX2" fmla="*/ 9147411 w 9151052"/>
              <a:gd name="connsiteY2" fmla="*/ 3847017 h 6867525"/>
              <a:gd name="connsiteX3" fmla="*/ 8170431 w 9151052"/>
              <a:gd name="connsiteY3" fmla="*/ 4164975 h 6867525"/>
              <a:gd name="connsiteX4" fmla="*/ 9148055 w 9151052"/>
              <a:gd name="connsiteY4" fmla="*/ 4473825 h 6867525"/>
              <a:gd name="connsiteX5" fmla="*/ 9144000 w 9151052"/>
              <a:gd name="connsiteY5" fmla="*/ 6867525 h 6867525"/>
              <a:gd name="connsiteX6" fmla="*/ 0 w 9151052"/>
              <a:gd name="connsiteY6" fmla="*/ 6867525 h 6867525"/>
              <a:gd name="connsiteX7" fmla="*/ 0 w 9151052"/>
              <a:gd name="connsiteY7" fmla="*/ 4604499 h 6867525"/>
              <a:gd name="connsiteX8" fmla="*/ 982663 w 9151052"/>
              <a:gd name="connsiteY8" fmla="*/ 4292937 h 6867525"/>
              <a:gd name="connsiteX9" fmla="*/ 0 w 9151052"/>
              <a:gd name="connsiteY9" fmla="*/ 3981376 h 6867525"/>
              <a:gd name="connsiteX10" fmla="*/ 0 w 9151052"/>
              <a:gd name="connsiteY10" fmla="*/ 0 h 6867525"/>
              <a:gd name="connsiteX0" fmla="*/ 0 w 9151052"/>
              <a:gd name="connsiteY0" fmla="*/ 0 h 6867525"/>
              <a:gd name="connsiteX1" fmla="*/ 9144000 w 9151052"/>
              <a:gd name="connsiteY1" fmla="*/ 0 h 6867525"/>
              <a:gd name="connsiteX2" fmla="*/ 9147411 w 9151052"/>
              <a:gd name="connsiteY2" fmla="*/ 3853367 h 6867525"/>
              <a:gd name="connsiteX3" fmla="*/ 8170431 w 9151052"/>
              <a:gd name="connsiteY3" fmla="*/ 4164975 h 6867525"/>
              <a:gd name="connsiteX4" fmla="*/ 9148055 w 9151052"/>
              <a:gd name="connsiteY4" fmla="*/ 4473825 h 6867525"/>
              <a:gd name="connsiteX5" fmla="*/ 9144000 w 9151052"/>
              <a:gd name="connsiteY5" fmla="*/ 6867525 h 6867525"/>
              <a:gd name="connsiteX6" fmla="*/ 0 w 9151052"/>
              <a:gd name="connsiteY6" fmla="*/ 6867525 h 6867525"/>
              <a:gd name="connsiteX7" fmla="*/ 0 w 9151052"/>
              <a:gd name="connsiteY7" fmla="*/ 4604499 h 6867525"/>
              <a:gd name="connsiteX8" fmla="*/ 982663 w 9151052"/>
              <a:gd name="connsiteY8" fmla="*/ 4292937 h 6867525"/>
              <a:gd name="connsiteX9" fmla="*/ 0 w 9151052"/>
              <a:gd name="connsiteY9" fmla="*/ 3981376 h 6867525"/>
              <a:gd name="connsiteX10" fmla="*/ 0 w 9151052"/>
              <a:gd name="connsiteY10" fmla="*/ 0 h 6867525"/>
              <a:gd name="connsiteX0" fmla="*/ 0 w 9221523"/>
              <a:gd name="connsiteY0" fmla="*/ 0 h 6867525"/>
              <a:gd name="connsiteX1" fmla="*/ 9144000 w 9221523"/>
              <a:gd name="connsiteY1" fmla="*/ 0 h 6867525"/>
              <a:gd name="connsiteX2" fmla="*/ 9147411 w 9221523"/>
              <a:gd name="connsiteY2" fmla="*/ 3853367 h 6867525"/>
              <a:gd name="connsiteX3" fmla="*/ 8176781 w 9221523"/>
              <a:gd name="connsiteY3" fmla="*/ 4161800 h 6867525"/>
              <a:gd name="connsiteX4" fmla="*/ 9148055 w 9221523"/>
              <a:gd name="connsiteY4" fmla="*/ 4473825 h 6867525"/>
              <a:gd name="connsiteX5" fmla="*/ 9144000 w 9221523"/>
              <a:gd name="connsiteY5" fmla="*/ 6867525 h 6867525"/>
              <a:gd name="connsiteX6" fmla="*/ 0 w 9221523"/>
              <a:gd name="connsiteY6" fmla="*/ 6867525 h 6867525"/>
              <a:gd name="connsiteX7" fmla="*/ 0 w 9221523"/>
              <a:gd name="connsiteY7" fmla="*/ 4604499 h 6867525"/>
              <a:gd name="connsiteX8" fmla="*/ 982663 w 9221523"/>
              <a:gd name="connsiteY8" fmla="*/ 4292937 h 6867525"/>
              <a:gd name="connsiteX9" fmla="*/ 0 w 9221523"/>
              <a:gd name="connsiteY9" fmla="*/ 3981376 h 6867525"/>
              <a:gd name="connsiteX10" fmla="*/ 0 w 9221523"/>
              <a:gd name="connsiteY10" fmla="*/ 0 h 6867525"/>
              <a:gd name="connsiteX0" fmla="*/ 0 w 9148066"/>
              <a:gd name="connsiteY0" fmla="*/ 0 h 6867525"/>
              <a:gd name="connsiteX1" fmla="*/ 9144000 w 9148066"/>
              <a:gd name="connsiteY1" fmla="*/ 0 h 6867525"/>
              <a:gd name="connsiteX2" fmla="*/ 9147411 w 9148066"/>
              <a:gd name="connsiteY2" fmla="*/ 3853367 h 6867525"/>
              <a:gd name="connsiteX3" fmla="*/ 8176781 w 9148066"/>
              <a:gd name="connsiteY3" fmla="*/ 4161800 h 6867525"/>
              <a:gd name="connsiteX4" fmla="*/ 9148055 w 9148066"/>
              <a:gd name="connsiteY4" fmla="*/ 4473825 h 6867525"/>
              <a:gd name="connsiteX5" fmla="*/ 9144000 w 9148066"/>
              <a:gd name="connsiteY5" fmla="*/ 6867525 h 6867525"/>
              <a:gd name="connsiteX6" fmla="*/ 0 w 9148066"/>
              <a:gd name="connsiteY6" fmla="*/ 6867525 h 6867525"/>
              <a:gd name="connsiteX7" fmla="*/ 0 w 9148066"/>
              <a:gd name="connsiteY7" fmla="*/ 4604499 h 6867525"/>
              <a:gd name="connsiteX8" fmla="*/ 982663 w 9148066"/>
              <a:gd name="connsiteY8" fmla="*/ 4292937 h 6867525"/>
              <a:gd name="connsiteX9" fmla="*/ 0 w 9148066"/>
              <a:gd name="connsiteY9" fmla="*/ 3981376 h 6867525"/>
              <a:gd name="connsiteX10" fmla="*/ 0 w 9148066"/>
              <a:gd name="connsiteY10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4604499 h 6867525"/>
              <a:gd name="connsiteX8" fmla="*/ 982663 w 9151782"/>
              <a:gd name="connsiteY8" fmla="*/ 4292937 h 6867525"/>
              <a:gd name="connsiteX9" fmla="*/ 0 w 9151782"/>
              <a:gd name="connsiteY9" fmla="*/ 3981376 h 6867525"/>
              <a:gd name="connsiteX10" fmla="*/ 0 w 9151782"/>
              <a:gd name="connsiteY10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4604499 h 6867525"/>
              <a:gd name="connsiteX8" fmla="*/ 982663 w 9151782"/>
              <a:gd name="connsiteY8" fmla="*/ 4292937 h 6867525"/>
              <a:gd name="connsiteX9" fmla="*/ 0 w 9151782"/>
              <a:gd name="connsiteY9" fmla="*/ 3981376 h 6867525"/>
              <a:gd name="connsiteX10" fmla="*/ 0 w 9151782"/>
              <a:gd name="connsiteY10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4604499 h 6867525"/>
              <a:gd name="connsiteX8" fmla="*/ 982663 w 9151782"/>
              <a:gd name="connsiteY8" fmla="*/ 4292937 h 6867525"/>
              <a:gd name="connsiteX9" fmla="*/ 0 w 9151782"/>
              <a:gd name="connsiteY9" fmla="*/ 3981376 h 6867525"/>
              <a:gd name="connsiteX10" fmla="*/ 0 w 9151782"/>
              <a:gd name="connsiteY10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4604499 h 6867525"/>
              <a:gd name="connsiteX8" fmla="*/ 982663 w 9151782"/>
              <a:gd name="connsiteY8" fmla="*/ 4292937 h 6867525"/>
              <a:gd name="connsiteX9" fmla="*/ 0 w 9151782"/>
              <a:gd name="connsiteY9" fmla="*/ 3981376 h 6867525"/>
              <a:gd name="connsiteX10" fmla="*/ 0 w 9151782"/>
              <a:gd name="connsiteY10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4604499 h 6867525"/>
              <a:gd name="connsiteX8" fmla="*/ 0 w 9151782"/>
              <a:gd name="connsiteY8" fmla="*/ 3981376 h 6867525"/>
              <a:gd name="connsiteX9" fmla="*/ 0 w 9151782"/>
              <a:gd name="connsiteY9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4604499 h 6867525"/>
              <a:gd name="connsiteX8" fmla="*/ 0 w 9151782"/>
              <a:gd name="connsiteY8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0 h 6867525"/>
              <a:gd name="connsiteX0" fmla="*/ 0 w 9151782"/>
              <a:gd name="connsiteY0" fmla="*/ 0 h 6998257"/>
              <a:gd name="connsiteX1" fmla="*/ 9144000 w 9151782"/>
              <a:gd name="connsiteY1" fmla="*/ 130732 h 6998257"/>
              <a:gd name="connsiteX2" fmla="*/ 9147411 w 9151782"/>
              <a:gd name="connsiteY2" fmla="*/ 3984099 h 6998257"/>
              <a:gd name="connsiteX3" fmla="*/ 8176781 w 9151782"/>
              <a:gd name="connsiteY3" fmla="*/ 4292532 h 6998257"/>
              <a:gd name="connsiteX4" fmla="*/ 9148055 w 9151782"/>
              <a:gd name="connsiteY4" fmla="*/ 4604557 h 6998257"/>
              <a:gd name="connsiteX5" fmla="*/ 9144000 w 9151782"/>
              <a:gd name="connsiteY5" fmla="*/ 6998257 h 6998257"/>
              <a:gd name="connsiteX6" fmla="*/ 0 w 9151782"/>
              <a:gd name="connsiteY6" fmla="*/ 6998257 h 6998257"/>
              <a:gd name="connsiteX7" fmla="*/ 0 w 9151782"/>
              <a:gd name="connsiteY7" fmla="*/ 0 h 6998257"/>
              <a:gd name="connsiteX0" fmla="*/ 0 w 9151782"/>
              <a:gd name="connsiteY0" fmla="*/ 0 h 6998257"/>
              <a:gd name="connsiteX1" fmla="*/ 9144000 w 9151782"/>
              <a:gd name="connsiteY1" fmla="*/ 6225 h 6998257"/>
              <a:gd name="connsiteX2" fmla="*/ 9147411 w 9151782"/>
              <a:gd name="connsiteY2" fmla="*/ 3984099 h 6998257"/>
              <a:gd name="connsiteX3" fmla="*/ 8176781 w 9151782"/>
              <a:gd name="connsiteY3" fmla="*/ 4292532 h 6998257"/>
              <a:gd name="connsiteX4" fmla="*/ 9148055 w 9151782"/>
              <a:gd name="connsiteY4" fmla="*/ 4604557 h 6998257"/>
              <a:gd name="connsiteX5" fmla="*/ 9144000 w 9151782"/>
              <a:gd name="connsiteY5" fmla="*/ 6998257 h 6998257"/>
              <a:gd name="connsiteX6" fmla="*/ 0 w 9151782"/>
              <a:gd name="connsiteY6" fmla="*/ 6998257 h 6998257"/>
              <a:gd name="connsiteX7" fmla="*/ 0 w 9151782"/>
              <a:gd name="connsiteY7" fmla="*/ 0 h 6998257"/>
              <a:gd name="connsiteX0" fmla="*/ 0 w 9151782"/>
              <a:gd name="connsiteY0" fmla="*/ 0 h 6998257"/>
              <a:gd name="connsiteX1" fmla="*/ 9144000 w 9151782"/>
              <a:gd name="connsiteY1" fmla="*/ 6225 h 6998257"/>
              <a:gd name="connsiteX2" fmla="*/ 9147411 w 9151782"/>
              <a:gd name="connsiteY2" fmla="*/ 3984099 h 6998257"/>
              <a:gd name="connsiteX3" fmla="*/ 8176781 w 9151782"/>
              <a:gd name="connsiteY3" fmla="*/ 4292532 h 6998257"/>
              <a:gd name="connsiteX4" fmla="*/ 9148055 w 9151782"/>
              <a:gd name="connsiteY4" fmla="*/ 4604557 h 6998257"/>
              <a:gd name="connsiteX5" fmla="*/ 9144000 w 9151782"/>
              <a:gd name="connsiteY5" fmla="*/ 6998257 h 6998257"/>
              <a:gd name="connsiteX6" fmla="*/ 0 w 9151782"/>
              <a:gd name="connsiteY6" fmla="*/ 6998257 h 6998257"/>
              <a:gd name="connsiteX7" fmla="*/ 0 w 9151782"/>
              <a:gd name="connsiteY7" fmla="*/ 0 h 6998257"/>
              <a:gd name="connsiteX0" fmla="*/ 0 w 9882814"/>
              <a:gd name="connsiteY0" fmla="*/ 0 h 6998257"/>
              <a:gd name="connsiteX1" fmla="*/ 9144000 w 9882814"/>
              <a:gd name="connsiteY1" fmla="*/ 6225 h 6998257"/>
              <a:gd name="connsiteX2" fmla="*/ 9147411 w 9882814"/>
              <a:gd name="connsiteY2" fmla="*/ 3984099 h 6998257"/>
              <a:gd name="connsiteX3" fmla="*/ 8176781 w 9882814"/>
              <a:gd name="connsiteY3" fmla="*/ 4292532 h 6998257"/>
              <a:gd name="connsiteX4" fmla="*/ 9148055 w 9882814"/>
              <a:gd name="connsiteY4" fmla="*/ 4604557 h 6998257"/>
              <a:gd name="connsiteX5" fmla="*/ 9144000 w 9882814"/>
              <a:gd name="connsiteY5" fmla="*/ 6998257 h 6998257"/>
              <a:gd name="connsiteX6" fmla="*/ 0 w 9882814"/>
              <a:gd name="connsiteY6" fmla="*/ 6998257 h 6998257"/>
              <a:gd name="connsiteX7" fmla="*/ 0 w 9882814"/>
              <a:gd name="connsiteY7" fmla="*/ 0 h 6998257"/>
              <a:gd name="connsiteX0" fmla="*/ 0 w 9280677"/>
              <a:gd name="connsiteY0" fmla="*/ 0 h 7044858"/>
              <a:gd name="connsiteX1" fmla="*/ 9144000 w 9280677"/>
              <a:gd name="connsiteY1" fmla="*/ 6225 h 7044858"/>
              <a:gd name="connsiteX2" fmla="*/ 9147411 w 9280677"/>
              <a:gd name="connsiteY2" fmla="*/ 3984099 h 7044858"/>
              <a:gd name="connsiteX3" fmla="*/ 8176781 w 9280677"/>
              <a:gd name="connsiteY3" fmla="*/ 4292532 h 7044858"/>
              <a:gd name="connsiteX4" fmla="*/ 9148055 w 9280677"/>
              <a:gd name="connsiteY4" fmla="*/ 4604557 h 7044858"/>
              <a:gd name="connsiteX5" fmla="*/ 9144000 w 9280677"/>
              <a:gd name="connsiteY5" fmla="*/ 6998257 h 7044858"/>
              <a:gd name="connsiteX6" fmla="*/ 0 w 9280677"/>
              <a:gd name="connsiteY6" fmla="*/ 6998257 h 7044858"/>
              <a:gd name="connsiteX7" fmla="*/ 0 w 9280677"/>
              <a:gd name="connsiteY7" fmla="*/ 0 h 7044858"/>
              <a:gd name="connsiteX0" fmla="*/ 0 w 9280677"/>
              <a:gd name="connsiteY0" fmla="*/ 0 h 6998257"/>
              <a:gd name="connsiteX1" fmla="*/ 9144000 w 9280677"/>
              <a:gd name="connsiteY1" fmla="*/ 6225 h 6998257"/>
              <a:gd name="connsiteX2" fmla="*/ 9147411 w 9280677"/>
              <a:gd name="connsiteY2" fmla="*/ 3984099 h 6998257"/>
              <a:gd name="connsiteX3" fmla="*/ 8176781 w 9280677"/>
              <a:gd name="connsiteY3" fmla="*/ 4292532 h 6998257"/>
              <a:gd name="connsiteX4" fmla="*/ 9148055 w 9280677"/>
              <a:gd name="connsiteY4" fmla="*/ 4604557 h 6998257"/>
              <a:gd name="connsiteX5" fmla="*/ 9144000 w 9280677"/>
              <a:gd name="connsiteY5" fmla="*/ 6889588 h 6998257"/>
              <a:gd name="connsiteX6" fmla="*/ 0 w 9280677"/>
              <a:gd name="connsiteY6" fmla="*/ 6998257 h 6998257"/>
              <a:gd name="connsiteX7" fmla="*/ 0 w 9280677"/>
              <a:gd name="connsiteY7" fmla="*/ 0 h 6998257"/>
              <a:gd name="connsiteX0" fmla="*/ 0 w 9219105"/>
              <a:gd name="connsiteY0" fmla="*/ 0 h 6998257"/>
              <a:gd name="connsiteX1" fmla="*/ 9144000 w 9219105"/>
              <a:gd name="connsiteY1" fmla="*/ 6225 h 6998257"/>
              <a:gd name="connsiteX2" fmla="*/ 9147411 w 9219105"/>
              <a:gd name="connsiteY2" fmla="*/ 3984099 h 6998257"/>
              <a:gd name="connsiteX3" fmla="*/ 8176781 w 9219105"/>
              <a:gd name="connsiteY3" fmla="*/ 4292532 h 6998257"/>
              <a:gd name="connsiteX4" fmla="*/ 9148055 w 9219105"/>
              <a:gd name="connsiteY4" fmla="*/ 4604557 h 6998257"/>
              <a:gd name="connsiteX5" fmla="*/ 9144000 w 9219105"/>
              <a:gd name="connsiteY5" fmla="*/ 6889588 h 6998257"/>
              <a:gd name="connsiteX6" fmla="*/ 0 w 9219105"/>
              <a:gd name="connsiteY6" fmla="*/ 6998257 h 6998257"/>
              <a:gd name="connsiteX7" fmla="*/ 0 w 9219105"/>
              <a:gd name="connsiteY7" fmla="*/ 0 h 6998257"/>
              <a:gd name="connsiteX0" fmla="*/ 6792 w 9225897"/>
              <a:gd name="connsiteY0" fmla="*/ 0 h 6936189"/>
              <a:gd name="connsiteX1" fmla="*/ 9150792 w 9225897"/>
              <a:gd name="connsiteY1" fmla="*/ 6225 h 6936189"/>
              <a:gd name="connsiteX2" fmla="*/ 9154203 w 9225897"/>
              <a:gd name="connsiteY2" fmla="*/ 3984099 h 6936189"/>
              <a:gd name="connsiteX3" fmla="*/ 8183573 w 9225897"/>
              <a:gd name="connsiteY3" fmla="*/ 4292532 h 6936189"/>
              <a:gd name="connsiteX4" fmla="*/ 9154847 w 9225897"/>
              <a:gd name="connsiteY4" fmla="*/ 4604557 h 6936189"/>
              <a:gd name="connsiteX5" fmla="*/ 9150792 w 9225897"/>
              <a:gd name="connsiteY5" fmla="*/ 6889588 h 6936189"/>
              <a:gd name="connsiteX6" fmla="*/ 0 w 9225897"/>
              <a:gd name="connsiteY6" fmla="*/ 6889588 h 6936189"/>
              <a:gd name="connsiteX7" fmla="*/ 6792 w 9225897"/>
              <a:gd name="connsiteY7" fmla="*/ 0 h 6936189"/>
              <a:gd name="connsiteX0" fmla="*/ 6792 w 9233542"/>
              <a:gd name="connsiteY0" fmla="*/ 0 h 6926408"/>
              <a:gd name="connsiteX1" fmla="*/ 9150792 w 9233542"/>
              <a:gd name="connsiteY1" fmla="*/ 6225 h 6926408"/>
              <a:gd name="connsiteX2" fmla="*/ 9154203 w 9233542"/>
              <a:gd name="connsiteY2" fmla="*/ 3984099 h 6926408"/>
              <a:gd name="connsiteX3" fmla="*/ 8183573 w 9233542"/>
              <a:gd name="connsiteY3" fmla="*/ 4292532 h 6926408"/>
              <a:gd name="connsiteX4" fmla="*/ 9154847 w 9233542"/>
              <a:gd name="connsiteY4" fmla="*/ 4604557 h 6926408"/>
              <a:gd name="connsiteX5" fmla="*/ 9177959 w 9233542"/>
              <a:gd name="connsiteY5" fmla="*/ 6876004 h 6926408"/>
              <a:gd name="connsiteX6" fmla="*/ 0 w 9233542"/>
              <a:gd name="connsiteY6" fmla="*/ 6889588 h 6926408"/>
              <a:gd name="connsiteX7" fmla="*/ 6792 w 9233542"/>
              <a:gd name="connsiteY7" fmla="*/ 0 h 6926408"/>
              <a:gd name="connsiteX0" fmla="*/ 6792 w 9233542"/>
              <a:gd name="connsiteY0" fmla="*/ 0 h 6889588"/>
              <a:gd name="connsiteX1" fmla="*/ 9150792 w 9233542"/>
              <a:gd name="connsiteY1" fmla="*/ 6225 h 6889588"/>
              <a:gd name="connsiteX2" fmla="*/ 9154203 w 9233542"/>
              <a:gd name="connsiteY2" fmla="*/ 3984099 h 6889588"/>
              <a:gd name="connsiteX3" fmla="*/ 8183573 w 9233542"/>
              <a:gd name="connsiteY3" fmla="*/ 4292532 h 6889588"/>
              <a:gd name="connsiteX4" fmla="*/ 9154847 w 9233542"/>
              <a:gd name="connsiteY4" fmla="*/ 4604557 h 6889588"/>
              <a:gd name="connsiteX5" fmla="*/ 9177959 w 9233542"/>
              <a:gd name="connsiteY5" fmla="*/ 6876004 h 6889588"/>
              <a:gd name="connsiteX6" fmla="*/ 0 w 9233542"/>
              <a:gd name="connsiteY6" fmla="*/ 6889588 h 6889588"/>
              <a:gd name="connsiteX7" fmla="*/ 6792 w 9233542"/>
              <a:gd name="connsiteY7" fmla="*/ 0 h 6889588"/>
              <a:gd name="connsiteX0" fmla="*/ 6792 w 9908709"/>
              <a:gd name="connsiteY0" fmla="*/ 0 h 6889588"/>
              <a:gd name="connsiteX1" fmla="*/ 9150792 w 9908709"/>
              <a:gd name="connsiteY1" fmla="*/ 6225 h 6889588"/>
              <a:gd name="connsiteX2" fmla="*/ 9154203 w 9908709"/>
              <a:gd name="connsiteY2" fmla="*/ 3984099 h 6889588"/>
              <a:gd name="connsiteX3" fmla="*/ 8183573 w 9908709"/>
              <a:gd name="connsiteY3" fmla="*/ 4292532 h 6889588"/>
              <a:gd name="connsiteX4" fmla="*/ 9154847 w 9908709"/>
              <a:gd name="connsiteY4" fmla="*/ 4604557 h 6889588"/>
              <a:gd name="connsiteX5" fmla="*/ 9177959 w 9908709"/>
              <a:gd name="connsiteY5" fmla="*/ 6876004 h 6889588"/>
              <a:gd name="connsiteX6" fmla="*/ 0 w 9908709"/>
              <a:gd name="connsiteY6" fmla="*/ 6889588 h 6889588"/>
              <a:gd name="connsiteX7" fmla="*/ 6792 w 9908709"/>
              <a:gd name="connsiteY7" fmla="*/ 0 h 6889588"/>
              <a:gd name="connsiteX0" fmla="*/ 6792 w 9898932"/>
              <a:gd name="connsiteY0" fmla="*/ 0 h 6903171"/>
              <a:gd name="connsiteX1" fmla="*/ 9150792 w 9898932"/>
              <a:gd name="connsiteY1" fmla="*/ 6225 h 6903171"/>
              <a:gd name="connsiteX2" fmla="*/ 9154203 w 9898932"/>
              <a:gd name="connsiteY2" fmla="*/ 3984099 h 6903171"/>
              <a:gd name="connsiteX3" fmla="*/ 8183573 w 9898932"/>
              <a:gd name="connsiteY3" fmla="*/ 4292532 h 6903171"/>
              <a:gd name="connsiteX4" fmla="*/ 9154847 w 9898932"/>
              <a:gd name="connsiteY4" fmla="*/ 4604557 h 6903171"/>
              <a:gd name="connsiteX5" fmla="*/ 9164376 w 9898932"/>
              <a:gd name="connsiteY5" fmla="*/ 6903171 h 6903171"/>
              <a:gd name="connsiteX6" fmla="*/ 0 w 9898932"/>
              <a:gd name="connsiteY6" fmla="*/ 6889588 h 6903171"/>
              <a:gd name="connsiteX7" fmla="*/ 6792 w 9898932"/>
              <a:gd name="connsiteY7" fmla="*/ 0 h 6903171"/>
              <a:gd name="connsiteX0" fmla="*/ 6792 w 9229949"/>
              <a:gd name="connsiteY0" fmla="*/ 0 h 6903171"/>
              <a:gd name="connsiteX1" fmla="*/ 9150792 w 9229949"/>
              <a:gd name="connsiteY1" fmla="*/ 6225 h 6903171"/>
              <a:gd name="connsiteX2" fmla="*/ 9154203 w 9229949"/>
              <a:gd name="connsiteY2" fmla="*/ 3984099 h 6903171"/>
              <a:gd name="connsiteX3" fmla="*/ 8183573 w 9229949"/>
              <a:gd name="connsiteY3" fmla="*/ 4292532 h 6903171"/>
              <a:gd name="connsiteX4" fmla="*/ 9154847 w 9229949"/>
              <a:gd name="connsiteY4" fmla="*/ 4604557 h 6903171"/>
              <a:gd name="connsiteX5" fmla="*/ 9164376 w 9229949"/>
              <a:gd name="connsiteY5" fmla="*/ 6903171 h 6903171"/>
              <a:gd name="connsiteX6" fmla="*/ 0 w 9229949"/>
              <a:gd name="connsiteY6" fmla="*/ 6889588 h 6903171"/>
              <a:gd name="connsiteX7" fmla="*/ 6792 w 9229949"/>
              <a:gd name="connsiteY7" fmla="*/ 0 h 6903171"/>
              <a:gd name="connsiteX0" fmla="*/ 6792 w 9164376"/>
              <a:gd name="connsiteY0" fmla="*/ 0 h 6903171"/>
              <a:gd name="connsiteX1" fmla="*/ 9150792 w 9164376"/>
              <a:gd name="connsiteY1" fmla="*/ 6225 h 6903171"/>
              <a:gd name="connsiteX2" fmla="*/ 9154203 w 9164376"/>
              <a:gd name="connsiteY2" fmla="*/ 3984099 h 6903171"/>
              <a:gd name="connsiteX3" fmla="*/ 8183573 w 9164376"/>
              <a:gd name="connsiteY3" fmla="*/ 4292532 h 6903171"/>
              <a:gd name="connsiteX4" fmla="*/ 9154847 w 9164376"/>
              <a:gd name="connsiteY4" fmla="*/ 4604557 h 6903171"/>
              <a:gd name="connsiteX5" fmla="*/ 9164376 w 9164376"/>
              <a:gd name="connsiteY5" fmla="*/ 6903171 h 6903171"/>
              <a:gd name="connsiteX6" fmla="*/ 0 w 9164376"/>
              <a:gd name="connsiteY6" fmla="*/ 6889588 h 6903171"/>
              <a:gd name="connsiteX7" fmla="*/ 6792 w 9164376"/>
              <a:gd name="connsiteY7" fmla="*/ 0 h 6903171"/>
              <a:gd name="connsiteX0" fmla="*/ 6792 w 9177959"/>
              <a:gd name="connsiteY0" fmla="*/ 0 h 6889588"/>
              <a:gd name="connsiteX1" fmla="*/ 9150792 w 9177959"/>
              <a:gd name="connsiteY1" fmla="*/ 6225 h 6889588"/>
              <a:gd name="connsiteX2" fmla="*/ 9154203 w 9177959"/>
              <a:gd name="connsiteY2" fmla="*/ 3984099 h 6889588"/>
              <a:gd name="connsiteX3" fmla="*/ 8183573 w 9177959"/>
              <a:gd name="connsiteY3" fmla="*/ 4292532 h 6889588"/>
              <a:gd name="connsiteX4" fmla="*/ 9154847 w 9177959"/>
              <a:gd name="connsiteY4" fmla="*/ 4604557 h 6889588"/>
              <a:gd name="connsiteX5" fmla="*/ 9177959 w 9177959"/>
              <a:gd name="connsiteY5" fmla="*/ 6889587 h 6889588"/>
              <a:gd name="connsiteX6" fmla="*/ 0 w 9177959"/>
              <a:gd name="connsiteY6" fmla="*/ 6889588 h 6889588"/>
              <a:gd name="connsiteX7" fmla="*/ 6792 w 9177959"/>
              <a:gd name="connsiteY7" fmla="*/ 0 h 6889588"/>
              <a:gd name="connsiteX0" fmla="*/ 6792 w 9177959"/>
              <a:gd name="connsiteY0" fmla="*/ 0 h 6889588"/>
              <a:gd name="connsiteX1" fmla="*/ 9150792 w 9177959"/>
              <a:gd name="connsiteY1" fmla="*/ 6225 h 6889588"/>
              <a:gd name="connsiteX2" fmla="*/ 9154203 w 9177959"/>
              <a:gd name="connsiteY2" fmla="*/ 3984099 h 6889588"/>
              <a:gd name="connsiteX3" fmla="*/ 8183573 w 9177959"/>
              <a:gd name="connsiteY3" fmla="*/ 4292532 h 6889588"/>
              <a:gd name="connsiteX4" fmla="*/ 9154847 w 9177959"/>
              <a:gd name="connsiteY4" fmla="*/ 4604557 h 6889588"/>
              <a:gd name="connsiteX5" fmla="*/ 9177959 w 9177959"/>
              <a:gd name="connsiteY5" fmla="*/ 6889587 h 6889588"/>
              <a:gd name="connsiteX6" fmla="*/ 0 w 9177959"/>
              <a:gd name="connsiteY6" fmla="*/ 6889588 h 6889588"/>
              <a:gd name="connsiteX7" fmla="*/ 6792 w 9177959"/>
              <a:gd name="connsiteY7" fmla="*/ 0 h 6889588"/>
              <a:gd name="connsiteX0" fmla="*/ 6792 w 9157585"/>
              <a:gd name="connsiteY0" fmla="*/ 0 h 6889588"/>
              <a:gd name="connsiteX1" fmla="*/ 9150792 w 9157585"/>
              <a:gd name="connsiteY1" fmla="*/ 6225 h 6889588"/>
              <a:gd name="connsiteX2" fmla="*/ 9154203 w 9157585"/>
              <a:gd name="connsiteY2" fmla="*/ 3984099 h 6889588"/>
              <a:gd name="connsiteX3" fmla="*/ 8183573 w 9157585"/>
              <a:gd name="connsiteY3" fmla="*/ 4292532 h 6889588"/>
              <a:gd name="connsiteX4" fmla="*/ 9154847 w 9157585"/>
              <a:gd name="connsiteY4" fmla="*/ 4604557 h 6889588"/>
              <a:gd name="connsiteX5" fmla="*/ 9157585 w 9157585"/>
              <a:gd name="connsiteY5" fmla="*/ 6889587 h 6889588"/>
              <a:gd name="connsiteX6" fmla="*/ 0 w 9157585"/>
              <a:gd name="connsiteY6" fmla="*/ 6889588 h 6889588"/>
              <a:gd name="connsiteX7" fmla="*/ 6792 w 9157585"/>
              <a:gd name="connsiteY7" fmla="*/ 0 h 6889588"/>
              <a:gd name="connsiteX0" fmla="*/ 6792 w 9157585"/>
              <a:gd name="connsiteY0" fmla="*/ 0 h 6889588"/>
              <a:gd name="connsiteX1" fmla="*/ 9150792 w 9157585"/>
              <a:gd name="connsiteY1" fmla="*/ 6225 h 6889588"/>
              <a:gd name="connsiteX2" fmla="*/ 9154203 w 9157585"/>
              <a:gd name="connsiteY2" fmla="*/ 3984099 h 6889588"/>
              <a:gd name="connsiteX3" fmla="*/ 8183573 w 9157585"/>
              <a:gd name="connsiteY3" fmla="*/ 4292532 h 6889588"/>
              <a:gd name="connsiteX4" fmla="*/ 9154847 w 9157585"/>
              <a:gd name="connsiteY4" fmla="*/ 4604557 h 6889588"/>
              <a:gd name="connsiteX5" fmla="*/ 9157585 w 9157585"/>
              <a:gd name="connsiteY5" fmla="*/ 6889587 h 6889588"/>
              <a:gd name="connsiteX6" fmla="*/ 0 w 9157585"/>
              <a:gd name="connsiteY6" fmla="*/ 6889588 h 6889588"/>
              <a:gd name="connsiteX7" fmla="*/ 6792 w 9157585"/>
              <a:gd name="connsiteY7" fmla="*/ 0 h 6889588"/>
              <a:gd name="connsiteX0" fmla="*/ 6792 w 9157585"/>
              <a:gd name="connsiteY0" fmla="*/ 0 h 6889588"/>
              <a:gd name="connsiteX1" fmla="*/ 9150792 w 9157585"/>
              <a:gd name="connsiteY1" fmla="*/ 6225 h 6889588"/>
              <a:gd name="connsiteX2" fmla="*/ 9154203 w 9157585"/>
              <a:gd name="connsiteY2" fmla="*/ 3984099 h 6889588"/>
              <a:gd name="connsiteX3" fmla="*/ 8183573 w 9157585"/>
              <a:gd name="connsiteY3" fmla="*/ 4292532 h 6889588"/>
              <a:gd name="connsiteX4" fmla="*/ 9150878 w 9157585"/>
              <a:gd name="connsiteY4" fmla="*/ 4596620 h 6889588"/>
              <a:gd name="connsiteX5" fmla="*/ 9157585 w 9157585"/>
              <a:gd name="connsiteY5" fmla="*/ 6889587 h 6889588"/>
              <a:gd name="connsiteX6" fmla="*/ 0 w 9157585"/>
              <a:gd name="connsiteY6" fmla="*/ 6889588 h 6889588"/>
              <a:gd name="connsiteX7" fmla="*/ 6792 w 9157585"/>
              <a:gd name="connsiteY7" fmla="*/ 0 h 688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7585" h="6889588">
                <a:moveTo>
                  <a:pt x="6792" y="0"/>
                </a:moveTo>
                <a:lnTo>
                  <a:pt x="9150792" y="6225"/>
                </a:lnTo>
                <a:cubicBezTo>
                  <a:pt x="9147910" y="1060415"/>
                  <a:pt x="9152497" y="2057415"/>
                  <a:pt x="9154203" y="3984099"/>
                </a:cubicBezTo>
                <a:lnTo>
                  <a:pt x="8183573" y="4292532"/>
                </a:lnTo>
                <a:lnTo>
                  <a:pt x="9150878" y="4596620"/>
                </a:lnTo>
                <a:cubicBezTo>
                  <a:pt x="9155642" y="5745927"/>
                  <a:pt x="9156216" y="5747072"/>
                  <a:pt x="9157585" y="6889587"/>
                </a:cubicBezTo>
                <a:lnTo>
                  <a:pt x="0" y="6889588"/>
                </a:lnTo>
                <a:lnTo>
                  <a:pt x="6792" y="0"/>
                </a:lnTo>
                <a:close/>
              </a:path>
            </a:pathLst>
          </a:custGeom>
          <a:scene3d>
            <a:camera prst="orthographicFront">
              <a:rot lat="0" lon="10800000" rev="0"/>
            </a:camera>
            <a:lightRig rig="threePt" dir="t"/>
          </a:scene3d>
        </p:spPr>
        <p:txBody>
          <a:bodyPr anchor="t" anchorCtr="1"/>
          <a:lstStyle>
            <a:lvl1pPr>
              <a:defRPr baseline="0"/>
            </a:lvl1pPr>
          </a:lstStyle>
          <a:p>
            <a:r>
              <a:rPr lang="en-US" dirty="0"/>
              <a:t>     use this page to reverse images</a:t>
            </a:r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8" hasCustomPrompt="1"/>
          </p:nvPr>
        </p:nvSpPr>
        <p:spPr>
          <a:xfrm>
            <a:off x="-8300" y="4294647"/>
            <a:ext cx="12253217" cy="2595103"/>
          </a:xfrm>
          <a:custGeom>
            <a:avLst/>
            <a:gdLst>
              <a:gd name="connsiteX0" fmla="*/ 0 w 9161463"/>
              <a:gd name="connsiteY0" fmla="*/ 0 h 3797300"/>
              <a:gd name="connsiteX1" fmla="*/ 9161463 w 9161463"/>
              <a:gd name="connsiteY1" fmla="*/ 0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9138783 w 9161463"/>
              <a:gd name="connsiteY1" fmla="*/ 2789695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679157 w 9161463"/>
              <a:gd name="connsiteY1" fmla="*/ 208569 h 3797300"/>
              <a:gd name="connsiteX2" fmla="*/ 9138783 w 9161463"/>
              <a:gd name="connsiteY2" fmla="*/ 2789695 h 3797300"/>
              <a:gd name="connsiteX3" fmla="*/ 9161463 w 9161463"/>
              <a:gd name="connsiteY3" fmla="*/ 3797300 h 3797300"/>
              <a:gd name="connsiteX4" fmla="*/ 0 w 9161463"/>
              <a:gd name="connsiteY4" fmla="*/ 3797300 h 3797300"/>
              <a:gd name="connsiteX5" fmla="*/ 0 w 9161463"/>
              <a:gd name="connsiteY5" fmla="*/ 0 h 3797300"/>
              <a:gd name="connsiteX0" fmla="*/ 0 w 9161463"/>
              <a:gd name="connsiteY0" fmla="*/ 226105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6105 h 3588731"/>
              <a:gd name="connsiteX0" fmla="*/ 0 w 9161463"/>
              <a:gd name="connsiteY0" fmla="*/ 222930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2930 h 3588731"/>
              <a:gd name="connsiteX0" fmla="*/ 0 w 9466522"/>
              <a:gd name="connsiteY0" fmla="*/ 322535 h 3588731"/>
              <a:gd name="connsiteX1" fmla="*/ 984216 w 9466522"/>
              <a:gd name="connsiteY1" fmla="*/ 0 h 3588731"/>
              <a:gd name="connsiteX2" fmla="*/ 9443842 w 9466522"/>
              <a:gd name="connsiteY2" fmla="*/ 2581126 h 3588731"/>
              <a:gd name="connsiteX3" fmla="*/ 9466522 w 9466522"/>
              <a:gd name="connsiteY3" fmla="*/ 3588731 h 3588731"/>
              <a:gd name="connsiteX4" fmla="*/ 305059 w 9466522"/>
              <a:gd name="connsiteY4" fmla="*/ 3588731 h 3588731"/>
              <a:gd name="connsiteX5" fmla="*/ 0 w 9466522"/>
              <a:gd name="connsiteY5" fmla="*/ 322535 h 3588731"/>
              <a:gd name="connsiteX0" fmla="*/ 0 w 9466522"/>
              <a:gd name="connsiteY0" fmla="*/ 322535 h 3588731"/>
              <a:gd name="connsiteX1" fmla="*/ 984216 w 9466522"/>
              <a:gd name="connsiteY1" fmla="*/ 0 h 3588731"/>
              <a:gd name="connsiteX2" fmla="*/ 9443842 w 9466522"/>
              <a:gd name="connsiteY2" fmla="*/ 2581126 h 3588731"/>
              <a:gd name="connsiteX3" fmla="*/ 9466522 w 9466522"/>
              <a:gd name="connsiteY3" fmla="*/ 3588731 h 3588731"/>
              <a:gd name="connsiteX4" fmla="*/ 8846722 w 9466522"/>
              <a:gd name="connsiteY4" fmla="*/ 3439322 h 3588731"/>
              <a:gd name="connsiteX5" fmla="*/ 0 w 9466522"/>
              <a:gd name="connsiteY5" fmla="*/ 322535 h 3588731"/>
              <a:gd name="connsiteX0" fmla="*/ 0 w 9466522"/>
              <a:gd name="connsiteY0" fmla="*/ 322535 h 3588731"/>
              <a:gd name="connsiteX1" fmla="*/ 984216 w 9466522"/>
              <a:gd name="connsiteY1" fmla="*/ 0 h 3588731"/>
              <a:gd name="connsiteX2" fmla="*/ 9443842 w 9466522"/>
              <a:gd name="connsiteY2" fmla="*/ 2581126 h 3588731"/>
              <a:gd name="connsiteX3" fmla="*/ 9466522 w 9466522"/>
              <a:gd name="connsiteY3" fmla="*/ 3588731 h 3588731"/>
              <a:gd name="connsiteX4" fmla="*/ 0 w 9466522"/>
              <a:gd name="connsiteY4" fmla="*/ 322535 h 3588731"/>
              <a:gd name="connsiteX0" fmla="*/ 0 w 9443842"/>
              <a:gd name="connsiteY0" fmla="*/ 322535 h 3489126"/>
              <a:gd name="connsiteX1" fmla="*/ 984216 w 9443842"/>
              <a:gd name="connsiteY1" fmla="*/ 0 h 3489126"/>
              <a:gd name="connsiteX2" fmla="*/ 9443842 w 9443842"/>
              <a:gd name="connsiteY2" fmla="*/ 2581126 h 3489126"/>
              <a:gd name="connsiteX3" fmla="*/ 9167688 w 9443842"/>
              <a:gd name="connsiteY3" fmla="*/ 3489126 h 3489126"/>
              <a:gd name="connsiteX4" fmla="*/ 0 w 9443842"/>
              <a:gd name="connsiteY4" fmla="*/ 322535 h 3489126"/>
              <a:gd name="connsiteX0" fmla="*/ 0 w 9167688"/>
              <a:gd name="connsiteY0" fmla="*/ 322535 h 3489126"/>
              <a:gd name="connsiteX1" fmla="*/ 984216 w 9167688"/>
              <a:gd name="connsiteY1" fmla="*/ 0 h 3489126"/>
              <a:gd name="connsiteX2" fmla="*/ 9157459 w 9167688"/>
              <a:gd name="connsiteY2" fmla="*/ 2500196 h 3489126"/>
              <a:gd name="connsiteX3" fmla="*/ 9167688 w 9167688"/>
              <a:gd name="connsiteY3" fmla="*/ 3489126 h 3489126"/>
              <a:gd name="connsiteX4" fmla="*/ 0 w 9167688"/>
              <a:gd name="connsiteY4" fmla="*/ 322535 h 3489126"/>
              <a:gd name="connsiteX0" fmla="*/ 0 w 9167688"/>
              <a:gd name="connsiteY0" fmla="*/ 328885 h 3495476"/>
              <a:gd name="connsiteX1" fmla="*/ 996916 w 9167688"/>
              <a:gd name="connsiteY1" fmla="*/ 0 h 3495476"/>
              <a:gd name="connsiteX2" fmla="*/ 9157459 w 9167688"/>
              <a:gd name="connsiteY2" fmla="*/ 2506546 h 3495476"/>
              <a:gd name="connsiteX3" fmla="*/ 9167688 w 9167688"/>
              <a:gd name="connsiteY3" fmla="*/ 3495476 h 3495476"/>
              <a:gd name="connsiteX4" fmla="*/ 0 w 9167688"/>
              <a:gd name="connsiteY4" fmla="*/ 328885 h 3495476"/>
              <a:gd name="connsiteX0" fmla="*/ 0 w 9202613"/>
              <a:gd name="connsiteY0" fmla="*/ 313010 h 3495476"/>
              <a:gd name="connsiteX1" fmla="*/ 1031841 w 9202613"/>
              <a:gd name="connsiteY1" fmla="*/ 0 h 3495476"/>
              <a:gd name="connsiteX2" fmla="*/ 9192384 w 9202613"/>
              <a:gd name="connsiteY2" fmla="*/ 2506546 h 3495476"/>
              <a:gd name="connsiteX3" fmla="*/ 9202613 w 9202613"/>
              <a:gd name="connsiteY3" fmla="*/ 3495476 h 3495476"/>
              <a:gd name="connsiteX4" fmla="*/ 0 w 9202613"/>
              <a:gd name="connsiteY4" fmla="*/ 313010 h 3495476"/>
              <a:gd name="connsiteX0" fmla="*/ 0 w 9202613"/>
              <a:gd name="connsiteY0" fmla="*/ 313010 h 3495476"/>
              <a:gd name="connsiteX1" fmla="*/ 1031841 w 9202613"/>
              <a:gd name="connsiteY1" fmla="*/ 0 h 3495476"/>
              <a:gd name="connsiteX2" fmla="*/ 9109834 w 9202613"/>
              <a:gd name="connsiteY2" fmla="*/ 2560521 h 3495476"/>
              <a:gd name="connsiteX3" fmla="*/ 9202613 w 9202613"/>
              <a:gd name="connsiteY3" fmla="*/ 3495476 h 3495476"/>
              <a:gd name="connsiteX4" fmla="*/ 0 w 9202613"/>
              <a:gd name="connsiteY4" fmla="*/ 313010 h 3495476"/>
              <a:gd name="connsiteX0" fmla="*/ 0 w 9224134"/>
              <a:gd name="connsiteY0" fmla="*/ 313010 h 3495476"/>
              <a:gd name="connsiteX1" fmla="*/ 1031841 w 9224134"/>
              <a:gd name="connsiteY1" fmla="*/ 0 h 3495476"/>
              <a:gd name="connsiteX2" fmla="*/ 9224134 w 9224134"/>
              <a:gd name="connsiteY2" fmla="*/ 2468446 h 3495476"/>
              <a:gd name="connsiteX3" fmla="*/ 9202613 w 9224134"/>
              <a:gd name="connsiteY3" fmla="*/ 3495476 h 3495476"/>
              <a:gd name="connsiteX4" fmla="*/ 0 w 9224134"/>
              <a:gd name="connsiteY4" fmla="*/ 313010 h 3495476"/>
              <a:gd name="connsiteX0" fmla="*/ 0 w 9224134"/>
              <a:gd name="connsiteY0" fmla="*/ 313010 h 2838251"/>
              <a:gd name="connsiteX1" fmla="*/ 1031841 w 9224134"/>
              <a:gd name="connsiteY1" fmla="*/ 0 h 2838251"/>
              <a:gd name="connsiteX2" fmla="*/ 9224134 w 9224134"/>
              <a:gd name="connsiteY2" fmla="*/ 2468446 h 2838251"/>
              <a:gd name="connsiteX3" fmla="*/ 9078788 w 9224134"/>
              <a:gd name="connsiteY3" fmla="*/ 2838251 h 2838251"/>
              <a:gd name="connsiteX4" fmla="*/ 0 w 9224134"/>
              <a:gd name="connsiteY4" fmla="*/ 313010 h 2838251"/>
              <a:gd name="connsiteX0" fmla="*/ 0 w 9234363"/>
              <a:gd name="connsiteY0" fmla="*/ 313010 h 3114476"/>
              <a:gd name="connsiteX1" fmla="*/ 1031841 w 9234363"/>
              <a:gd name="connsiteY1" fmla="*/ 0 h 3114476"/>
              <a:gd name="connsiteX2" fmla="*/ 9224134 w 9234363"/>
              <a:gd name="connsiteY2" fmla="*/ 2468446 h 3114476"/>
              <a:gd name="connsiteX3" fmla="*/ 9234363 w 9234363"/>
              <a:gd name="connsiteY3" fmla="*/ 3114476 h 3114476"/>
              <a:gd name="connsiteX4" fmla="*/ 0 w 9234363"/>
              <a:gd name="connsiteY4" fmla="*/ 313010 h 3114476"/>
              <a:gd name="connsiteX0" fmla="*/ 0 w 9228013"/>
              <a:gd name="connsiteY0" fmla="*/ 313010 h 3104951"/>
              <a:gd name="connsiteX1" fmla="*/ 1031841 w 9228013"/>
              <a:gd name="connsiteY1" fmla="*/ 0 h 3104951"/>
              <a:gd name="connsiteX2" fmla="*/ 9224134 w 9228013"/>
              <a:gd name="connsiteY2" fmla="*/ 2468446 h 3104951"/>
              <a:gd name="connsiteX3" fmla="*/ 9228013 w 9228013"/>
              <a:gd name="connsiteY3" fmla="*/ 3104951 h 3104951"/>
              <a:gd name="connsiteX4" fmla="*/ 0 w 9228013"/>
              <a:gd name="connsiteY4" fmla="*/ 313010 h 3104951"/>
              <a:gd name="connsiteX0" fmla="*/ 0 w 9231188"/>
              <a:gd name="connsiteY0" fmla="*/ 325710 h 3104951"/>
              <a:gd name="connsiteX1" fmla="*/ 1035016 w 9231188"/>
              <a:gd name="connsiteY1" fmla="*/ 0 h 3104951"/>
              <a:gd name="connsiteX2" fmla="*/ 9227309 w 9231188"/>
              <a:gd name="connsiteY2" fmla="*/ 2468446 h 3104951"/>
              <a:gd name="connsiteX3" fmla="*/ 9231188 w 9231188"/>
              <a:gd name="connsiteY3" fmla="*/ 3104951 h 3104951"/>
              <a:gd name="connsiteX4" fmla="*/ 0 w 9231188"/>
              <a:gd name="connsiteY4" fmla="*/ 325710 h 3104951"/>
              <a:gd name="connsiteX0" fmla="*/ 0 w 9256588"/>
              <a:gd name="connsiteY0" fmla="*/ 322535 h 3104951"/>
              <a:gd name="connsiteX1" fmla="*/ 1060416 w 9256588"/>
              <a:gd name="connsiteY1" fmla="*/ 0 h 3104951"/>
              <a:gd name="connsiteX2" fmla="*/ 9252709 w 9256588"/>
              <a:gd name="connsiteY2" fmla="*/ 2468446 h 3104951"/>
              <a:gd name="connsiteX3" fmla="*/ 9256588 w 9256588"/>
              <a:gd name="connsiteY3" fmla="*/ 3104951 h 3104951"/>
              <a:gd name="connsiteX4" fmla="*/ 0 w 9256588"/>
              <a:gd name="connsiteY4" fmla="*/ 322535 h 3104951"/>
              <a:gd name="connsiteX0" fmla="*/ 0 w 9257810"/>
              <a:gd name="connsiteY0" fmla="*/ 322535 h 3104951"/>
              <a:gd name="connsiteX1" fmla="*/ 1060416 w 9257810"/>
              <a:gd name="connsiteY1" fmla="*/ 0 h 3104951"/>
              <a:gd name="connsiteX2" fmla="*/ 9257810 w 9257810"/>
              <a:gd name="connsiteY2" fmla="*/ 2473546 h 3104951"/>
              <a:gd name="connsiteX3" fmla="*/ 9256588 w 9257810"/>
              <a:gd name="connsiteY3" fmla="*/ 3104951 h 3104951"/>
              <a:gd name="connsiteX4" fmla="*/ 0 w 9257810"/>
              <a:gd name="connsiteY4" fmla="*/ 322535 h 3104951"/>
              <a:gd name="connsiteX0" fmla="*/ 0 w 9187960"/>
              <a:gd name="connsiteY0" fmla="*/ 309835 h 3104951"/>
              <a:gd name="connsiteX1" fmla="*/ 990566 w 9187960"/>
              <a:gd name="connsiteY1" fmla="*/ 0 h 3104951"/>
              <a:gd name="connsiteX2" fmla="*/ 9187960 w 9187960"/>
              <a:gd name="connsiteY2" fmla="*/ 2473546 h 3104951"/>
              <a:gd name="connsiteX3" fmla="*/ 9186738 w 9187960"/>
              <a:gd name="connsiteY3" fmla="*/ 3104951 h 3104951"/>
              <a:gd name="connsiteX4" fmla="*/ 0 w 9187960"/>
              <a:gd name="connsiteY4" fmla="*/ 309835 h 3104951"/>
              <a:gd name="connsiteX0" fmla="*/ 0 w 9187960"/>
              <a:gd name="connsiteY0" fmla="*/ 309835 h 3104951"/>
              <a:gd name="connsiteX1" fmla="*/ 990566 w 9187960"/>
              <a:gd name="connsiteY1" fmla="*/ 0 h 3104951"/>
              <a:gd name="connsiteX2" fmla="*/ 9187960 w 9187960"/>
              <a:gd name="connsiteY2" fmla="*/ 2473546 h 3104951"/>
              <a:gd name="connsiteX3" fmla="*/ 9186738 w 9187960"/>
              <a:gd name="connsiteY3" fmla="*/ 3104951 h 3104951"/>
              <a:gd name="connsiteX4" fmla="*/ 7578601 w 9187960"/>
              <a:gd name="connsiteY4" fmla="*/ 2614152 h 3104951"/>
              <a:gd name="connsiteX5" fmla="*/ 0 w 9187960"/>
              <a:gd name="connsiteY5" fmla="*/ 309835 h 3104951"/>
              <a:gd name="connsiteX0" fmla="*/ 0 w 9187960"/>
              <a:gd name="connsiteY0" fmla="*/ 309835 h 3104951"/>
              <a:gd name="connsiteX1" fmla="*/ 990566 w 9187960"/>
              <a:gd name="connsiteY1" fmla="*/ 0 h 3104951"/>
              <a:gd name="connsiteX2" fmla="*/ 9187960 w 9187960"/>
              <a:gd name="connsiteY2" fmla="*/ 2473546 h 3104951"/>
              <a:gd name="connsiteX3" fmla="*/ 9186738 w 9187960"/>
              <a:gd name="connsiteY3" fmla="*/ 3104951 h 3104951"/>
              <a:gd name="connsiteX4" fmla="*/ 7569076 w 9187960"/>
              <a:gd name="connsiteY4" fmla="*/ 2595102 h 3104951"/>
              <a:gd name="connsiteX5" fmla="*/ 0 w 9187960"/>
              <a:gd name="connsiteY5" fmla="*/ 309835 h 3104951"/>
              <a:gd name="connsiteX0" fmla="*/ 0 w 9187960"/>
              <a:gd name="connsiteY0" fmla="*/ 309835 h 2800151"/>
              <a:gd name="connsiteX1" fmla="*/ 990566 w 9187960"/>
              <a:gd name="connsiteY1" fmla="*/ 0 h 2800151"/>
              <a:gd name="connsiteX2" fmla="*/ 9187960 w 9187960"/>
              <a:gd name="connsiteY2" fmla="*/ 2473546 h 2800151"/>
              <a:gd name="connsiteX3" fmla="*/ 8843838 w 9187960"/>
              <a:gd name="connsiteY3" fmla="*/ 2800151 h 2800151"/>
              <a:gd name="connsiteX4" fmla="*/ 7569076 w 9187960"/>
              <a:gd name="connsiteY4" fmla="*/ 2595102 h 2800151"/>
              <a:gd name="connsiteX5" fmla="*/ 0 w 9187960"/>
              <a:gd name="connsiteY5" fmla="*/ 309835 h 2800151"/>
              <a:gd name="connsiteX0" fmla="*/ 0 w 9187960"/>
              <a:gd name="connsiteY0" fmla="*/ 309835 h 2800151"/>
              <a:gd name="connsiteX1" fmla="*/ 990566 w 9187960"/>
              <a:gd name="connsiteY1" fmla="*/ 0 h 2800151"/>
              <a:gd name="connsiteX2" fmla="*/ 9187960 w 9187960"/>
              <a:gd name="connsiteY2" fmla="*/ 2473546 h 2800151"/>
              <a:gd name="connsiteX3" fmla="*/ 8843838 w 9187960"/>
              <a:gd name="connsiteY3" fmla="*/ 2800151 h 2800151"/>
              <a:gd name="connsiteX4" fmla="*/ 7569076 w 9187960"/>
              <a:gd name="connsiteY4" fmla="*/ 2595102 h 2800151"/>
              <a:gd name="connsiteX5" fmla="*/ 0 w 9187960"/>
              <a:gd name="connsiteY5" fmla="*/ 309835 h 2800151"/>
              <a:gd name="connsiteX0" fmla="*/ 0 w 9187960"/>
              <a:gd name="connsiteY0" fmla="*/ 309835 h 2663626"/>
              <a:gd name="connsiteX1" fmla="*/ 990566 w 9187960"/>
              <a:gd name="connsiteY1" fmla="*/ 0 h 2663626"/>
              <a:gd name="connsiteX2" fmla="*/ 9187960 w 9187960"/>
              <a:gd name="connsiteY2" fmla="*/ 2473546 h 2663626"/>
              <a:gd name="connsiteX3" fmla="*/ 8815263 w 9187960"/>
              <a:gd name="connsiteY3" fmla="*/ 2663626 h 2663626"/>
              <a:gd name="connsiteX4" fmla="*/ 7569076 w 9187960"/>
              <a:gd name="connsiteY4" fmla="*/ 2595102 h 2663626"/>
              <a:gd name="connsiteX5" fmla="*/ 0 w 9187960"/>
              <a:gd name="connsiteY5" fmla="*/ 309835 h 2663626"/>
              <a:gd name="connsiteX0" fmla="*/ 0 w 9733911"/>
              <a:gd name="connsiteY0" fmla="*/ 309835 h 2741106"/>
              <a:gd name="connsiteX1" fmla="*/ 990566 w 9733911"/>
              <a:gd name="connsiteY1" fmla="*/ 0 h 2741106"/>
              <a:gd name="connsiteX2" fmla="*/ 9187960 w 9733911"/>
              <a:gd name="connsiteY2" fmla="*/ 2473546 h 2741106"/>
              <a:gd name="connsiteX3" fmla="*/ 8815263 w 9733911"/>
              <a:gd name="connsiteY3" fmla="*/ 2663626 h 2741106"/>
              <a:gd name="connsiteX4" fmla="*/ 7569076 w 9733911"/>
              <a:gd name="connsiteY4" fmla="*/ 2595102 h 2741106"/>
              <a:gd name="connsiteX5" fmla="*/ 0 w 9733911"/>
              <a:gd name="connsiteY5" fmla="*/ 309835 h 2741106"/>
              <a:gd name="connsiteX0" fmla="*/ 0 w 9187960"/>
              <a:gd name="connsiteY0" fmla="*/ 309835 h 2664983"/>
              <a:gd name="connsiteX1" fmla="*/ 990566 w 9187960"/>
              <a:gd name="connsiteY1" fmla="*/ 0 h 2664983"/>
              <a:gd name="connsiteX2" fmla="*/ 9187960 w 9187960"/>
              <a:gd name="connsiteY2" fmla="*/ 2473546 h 2664983"/>
              <a:gd name="connsiteX3" fmla="*/ 8815263 w 9187960"/>
              <a:gd name="connsiteY3" fmla="*/ 2663626 h 2664983"/>
              <a:gd name="connsiteX4" fmla="*/ 7569076 w 9187960"/>
              <a:gd name="connsiteY4" fmla="*/ 2595102 h 2664983"/>
              <a:gd name="connsiteX5" fmla="*/ 0 w 9187960"/>
              <a:gd name="connsiteY5" fmla="*/ 309835 h 2664983"/>
              <a:gd name="connsiteX0" fmla="*/ 0 w 9282953"/>
              <a:gd name="connsiteY0" fmla="*/ 309835 h 2661844"/>
              <a:gd name="connsiteX1" fmla="*/ 990566 w 9282953"/>
              <a:gd name="connsiteY1" fmla="*/ 0 h 2661844"/>
              <a:gd name="connsiteX2" fmla="*/ 9187960 w 9282953"/>
              <a:gd name="connsiteY2" fmla="*/ 2473546 h 2661844"/>
              <a:gd name="connsiteX3" fmla="*/ 9196263 w 9282953"/>
              <a:gd name="connsiteY3" fmla="*/ 2660451 h 2661844"/>
              <a:gd name="connsiteX4" fmla="*/ 7569076 w 9282953"/>
              <a:gd name="connsiteY4" fmla="*/ 2595102 h 2661844"/>
              <a:gd name="connsiteX5" fmla="*/ 0 w 9282953"/>
              <a:gd name="connsiteY5" fmla="*/ 309835 h 2661844"/>
              <a:gd name="connsiteX0" fmla="*/ 0 w 9196263"/>
              <a:gd name="connsiteY0" fmla="*/ 309835 h 2660451"/>
              <a:gd name="connsiteX1" fmla="*/ 990566 w 9196263"/>
              <a:gd name="connsiteY1" fmla="*/ 0 h 2660451"/>
              <a:gd name="connsiteX2" fmla="*/ 9187960 w 9196263"/>
              <a:gd name="connsiteY2" fmla="*/ 2473546 h 2660451"/>
              <a:gd name="connsiteX3" fmla="*/ 9196263 w 9196263"/>
              <a:gd name="connsiteY3" fmla="*/ 2660451 h 2660451"/>
              <a:gd name="connsiteX4" fmla="*/ 7569076 w 9196263"/>
              <a:gd name="connsiteY4" fmla="*/ 2595102 h 2660451"/>
              <a:gd name="connsiteX5" fmla="*/ 0 w 9196263"/>
              <a:gd name="connsiteY5" fmla="*/ 309835 h 2660451"/>
              <a:gd name="connsiteX0" fmla="*/ 0 w 9196263"/>
              <a:gd name="connsiteY0" fmla="*/ 309835 h 2660451"/>
              <a:gd name="connsiteX1" fmla="*/ 990566 w 9196263"/>
              <a:gd name="connsiteY1" fmla="*/ 0 h 2660451"/>
              <a:gd name="connsiteX2" fmla="*/ 9187960 w 9196263"/>
              <a:gd name="connsiteY2" fmla="*/ 2473546 h 2660451"/>
              <a:gd name="connsiteX3" fmla="*/ 9196263 w 9196263"/>
              <a:gd name="connsiteY3" fmla="*/ 2660451 h 2660451"/>
              <a:gd name="connsiteX4" fmla="*/ 7569076 w 9196263"/>
              <a:gd name="connsiteY4" fmla="*/ 2595102 h 2660451"/>
              <a:gd name="connsiteX5" fmla="*/ 0 w 9196263"/>
              <a:gd name="connsiteY5" fmla="*/ 309835 h 2660451"/>
              <a:gd name="connsiteX0" fmla="*/ 0 w 9189913"/>
              <a:gd name="connsiteY0" fmla="*/ 309835 h 2595102"/>
              <a:gd name="connsiteX1" fmla="*/ 990566 w 9189913"/>
              <a:gd name="connsiteY1" fmla="*/ 0 h 2595102"/>
              <a:gd name="connsiteX2" fmla="*/ 9187960 w 9189913"/>
              <a:gd name="connsiteY2" fmla="*/ 2473546 h 2595102"/>
              <a:gd name="connsiteX3" fmla="*/ 9189913 w 9189913"/>
              <a:gd name="connsiteY3" fmla="*/ 2590601 h 2595102"/>
              <a:gd name="connsiteX4" fmla="*/ 7569076 w 9189913"/>
              <a:gd name="connsiteY4" fmla="*/ 2595102 h 2595102"/>
              <a:gd name="connsiteX5" fmla="*/ 0 w 9189913"/>
              <a:gd name="connsiteY5" fmla="*/ 309835 h 259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89913" h="2595102">
                <a:moveTo>
                  <a:pt x="0" y="309835"/>
                </a:moveTo>
                <a:lnTo>
                  <a:pt x="990566" y="0"/>
                </a:lnTo>
                <a:lnTo>
                  <a:pt x="9187960" y="2473546"/>
                </a:lnTo>
                <a:lnTo>
                  <a:pt x="9189913" y="2590601"/>
                </a:lnTo>
                <a:lnTo>
                  <a:pt x="7569076" y="2595102"/>
                </a:lnTo>
                <a:lnTo>
                  <a:pt x="0" y="309835"/>
                </a:lnTo>
                <a:close/>
              </a:path>
            </a:pathLst>
          </a:custGeom>
          <a:gradFill flip="none" rotWithShape="1">
            <a:gsLst>
              <a:gs pos="0">
                <a:srgbClr val="D1E0D7">
                  <a:alpha val="70000"/>
                </a:srgbClr>
              </a:gs>
              <a:gs pos="100000">
                <a:srgbClr val="D1E0D7">
                  <a:alpha val="50000"/>
                </a:srgbClr>
              </a:gs>
            </a:gsLst>
            <a:lin ang="2100000" scaled="0"/>
            <a:tileRect/>
          </a:gradFill>
          <a:ln>
            <a:noFill/>
          </a:ln>
        </p:spPr>
        <p:txBody>
          <a:bodyPr bIns="868680" anchor="b" anchorCtr="1">
            <a:normAutofit/>
          </a:bodyPr>
          <a:lstStyle>
            <a:lvl1pPr algn="ctr">
              <a:defRPr sz="1000" baseline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r>
              <a:rPr lang="en-US" dirty="0"/>
              <a:t>ignore this box will appear blank in presentation mod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304241" y="1781352"/>
            <a:ext cx="10937949" cy="4986875"/>
          </a:xfrm>
          <a:custGeom>
            <a:avLst/>
            <a:gdLst>
              <a:gd name="connsiteX0" fmla="*/ 0 w 9150350"/>
              <a:gd name="connsiteY0" fmla="*/ 0 h 6113463"/>
              <a:gd name="connsiteX1" fmla="*/ 9150350 w 9150350"/>
              <a:gd name="connsiteY1" fmla="*/ 0 h 6113463"/>
              <a:gd name="connsiteX2" fmla="*/ 9150350 w 9150350"/>
              <a:gd name="connsiteY2" fmla="*/ 6113463 h 6113463"/>
              <a:gd name="connsiteX3" fmla="*/ 0 w 9150350"/>
              <a:gd name="connsiteY3" fmla="*/ 6113463 h 6113463"/>
              <a:gd name="connsiteX4" fmla="*/ 0 w 9150350"/>
              <a:gd name="connsiteY4" fmla="*/ 0 h 6113463"/>
              <a:gd name="connsiteX0" fmla="*/ 0 w 9150350"/>
              <a:gd name="connsiteY0" fmla="*/ 2744334 h 6113463"/>
              <a:gd name="connsiteX1" fmla="*/ 9150350 w 9150350"/>
              <a:gd name="connsiteY1" fmla="*/ 0 h 6113463"/>
              <a:gd name="connsiteX2" fmla="*/ 9150350 w 9150350"/>
              <a:gd name="connsiteY2" fmla="*/ 6113463 h 6113463"/>
              <a:gd name="connsiteX3" fmla="*/ 0 w 9150350"/>
              <a:gd name="connsiteY3" fmla="*/ 6113463 h 6113463"/>
              <a:gd name="connsiteX4" fmla="*/ 0 w 9150350"/>
              <a:gd name="connsiteY4" fmla="*/ 2744334 h 6113463"/>
              <a:gd name="connsiteX0" fmla="*/ 0 w 9161690"/>
              <a:gd name="connsiteY0" fmla="*/ 2778354 h 6147483"/>
              <a:gd name="connsiteX1" fmla="*/ 9161690 w 9161690"/>
              <a:gd name="connsiteY1" fmla="*/ 0 h 6147483"/>
              <a:gd name="connsiteX2" fmla="*/ 9150350 w 9161690"/>
              <a:gd name="connsiteY2" fmla="*/ 6147483 h 6147483"/>
              <a:gd name="connsiteX3" fmla="*/ 0 w 9161690"/>
              <a:gd name="connsiteY3" fmla="*/ 6147483 h 6147483"/>
              <a:gd name="connsiteX4" fmla="*/ 0 w 9161690"/>
              <a:gd name="connsiteY4" fmla="*/ 2778354 h 6147483"/>
              <a:gd name="connsiteX0" fmla="*/ 0 w 9161690"/>
              <a:gd name="connsiteY0" fmla="*/ 2787879 h 6147483"/>
              <a:gd name="connsiteX1" fmla="*/ 9161690 w 9161690"/>
              <a:gd name="connsiteY1" fmla="*/ 0 h 6147483"/>
              <a:gd name="connsiteX2" fmla="*/ 9150350 w 9161690"/>
              <a:gd name="connsiteY2" fmla="*/ 6147483 h 6147483"/>
              <a:gd name="connsiteX3" fmla="*/ 0 w 9161690"/>
              <a:gd name="connsiteY3" fmla="*/ 6147483 h 6147483"/>
              <a:gd name="connsiteX4" fmla="*/ 0 w 9161690"/>
              <a:gd name="connsiteY4" fmla="*/ 2787879 h 6147483"/>
              <a:gd name="connsiteX0" fmla="*/ 0 w 9152165"/>
              <a:gd name="connsiteY0" fmla="*/ 2797404 h 6157008"/>
              <a:gd name="connsiteX1" fmla="*/ 9152165 w 9152165"/>
              <a:gd name="connsiteY1" fmla="*/ 0 h 6157008"/>
              <a:gd name="connsiteX2" fmla="*/ 9150350 w 9152165"/>
              <a:gd name="connsiteY2" fmla="*/ 6157008 h 6157008"/>
              <a:gd name="connsiteX3" fmla="*/ 0 w 9152165"/>
              <a:gd name="connsiteY3" fmla="*/ 6157008 h 6157008"/>
              <a:gd name="connsiteX4" fmla="*/ 0 w 9152165"/>
              <a:gd name="connsiteY4" fmla="*/ 2797404 h 6157008"/>
              <a:gd name="connsiteX0" fmla="*/ 0 w 9152165"/>
              <a:gd name="connsiteY0" fmla="*/ 2797404 h 6157008"/>
              <a:gd name="connsiteX1" fmla="*/ 9152165 w 9152165"/>
              <a:gd name="connsiteY1" fmla="*/ 0 h 6157008"/>
              <a:gd name="connsiteX2" fmla="*/ 9150350 w 9152165"/>
              <a:gd name="connsiteY2" fmla="*/ 5104181 h 6157008"/>
              <a:gd name="connsiteX3" fmla="*/ 0 w 9152165"/>
              <a:gd name="connsiteY3" fmla="*/ 6157008 h 6157008"/>
              <a:gd name="connsiteX4" fmla="*/ 0 w 9152165"/>
              <a:gd name="connsiteY4" fmla="*/ 2797404 h 6157008"/>
              <a:gd name="connsiteX0" fmla="*/ 0 w 9152165"/>
              <a:gd name="connsiteY0" fmla="*/ 2797404 h 5120892"/>
              <a:gd name="connsiteX1" fmla="*/ 9152165 w 9152165"/>
              <a:gd name="connsiteY1" fmla="*/ 0 h 5120892"/>
              <a:gd name="connsiteX2" fmla="*/ 9150350 w 9152165"/>
              <a:gd name="connsiteY2" fmla="*/ 5104181 h 5120892"/>
              <a:gd name="connsiteX3" fmla="*/ 0 w 9152165"/>
              <a:gd name="connsiteY3" fmla="*/ 5120892 h 5120892"/>
              <a:gd name="connsiteX4" fmla="*/ 0 w 9152165"/>
              <a:gd name="connsiteY4" fmla="*/ 2797404 h 5120892"/>
              <a:gd name="connsiteX0" fmla="*/ 0 w 9152165"/>
              <a:gd name="connsiteY0" fmla="*/ 2797404 h 5137604"/>
              <a:gd name="connsiteX1" fmla="*/ 9152165 w 9152165"/>
              <a:gd name="connsiteY1" fmla="*/ 0 h 5137604"/>
              <a:gd name="connsiteX2" fmla="*/ 9150350 w 9152165"/>
              <a:gd name="connsiteY2" fmla="*/ 5104181 h 5137604"/>
              <a:gd name="connsiteX3" fmla="*/ 0 w 9152165"/>
              <a:gd name="connsiteY3" fmla="*/ 5137604 h 5137604"/>
              <a:gd name="connsiteX4" fmla="*/ 0 w 9152165"/>
              <a:gd name="connsiteY4" fmla="*/ 2797404 h 5137604"/>
              <a:gd name="connsiteX0" fmla="*/ 30603 w 9182768"/>
              <a:gd name="connsiteY0" fmla="*/ 2797404 h 5104181"/>
              <a:gd name="connsiteX1" fmla="*/ 9182768 w 9182768"/>
              <a:gd name="connsiteY1" fmla="*/ 0 h 5104181"/>
              <a:gd name="connsiteX2" fmla="*/ 9180953 w 9182768"/>
              <a:gd name="connsiteY2" fmla="*/ 5104181 h 5104181"/>
              <a:gd name="connsiteX3" fmla="*/ 0 w 9182768"/>
              <a:gd name="connsiteY3" fmla="*/ 5096802 h 5104181"/>
              <a:gd name="connsiteX4" fmla="*/ 30603 w 9182768"/>
              <a:gd name="connsiteY4" fmla="*/ 2797404 h 5104181"/>
              <a:gd name="connsiteX0" fmla="*/ 0 w 9198069"/>
              <a:gd name="connsiteY0" fmla="*/ 2817805 h 5104181"/>
              <a:gd name="connsiteX1" fmla="*/ 9198069 w 9198069"/>
              <a:gd name="connsiteY1" fmla="*/ 0 h 5104181"/>
              <a:gd name="connsiteX2" fmla="*/ 9196254 w 9198069"/>
              <a:gd name="connsiteY2" fmla="*/ 5104181 h 5104181"/>
              <a:gd name="connsiteX3" fmla="*/ 15301 w 9198069"/>
              <a:gd name="connsiteY3" fmla="*/ 5096802 h 5104181"/>
              <a:gd name="connsiteX4" fmla="*/ 0 w 9198069"/>
              <a:gd name="connsiteY4" fmla="*/ 2817805 h 5104181"/>
              <a:gd name="connsiteX0" fmla="*/ 1015009 w 9182768"/>
              <a:gd name="connsiteY0" fmla="*/ 2496486 h 5104181"/>
              <a:gd name="connsiteX1" fmla="*/ 9182768 w 9182768"/>
              <a:gd name="connsiteY1" fmla="*/ 0 h 5104181"/>
              <a:gd name="connsiteX2" fmla="*/ 9180953 w 9182768"/>
              <a:gd name="connsiteY2" fmla="*/ 5104181 h 5104181"/>
              <a:gd name="connsiteX3" fmla="*/ 0 w 9182768"/>
              <a:gd name="connsiteY3" fmla="*/ 5096802 h 5104181"/>
              <a:gd name="connsiteX4" fmla="*/ 1015009 w 9182768"/>
              <a:gd name="connsiteY4" fmla="*/ 2496486 h 5104181"/>
              <a:gd name="connsiteX0" fmla="*/ 0 w 8167759"/>
              <a:gd name="connsiteY0" fmla="*/ 2496486 h 5104181"/>
              <a:gd name="connsiteX1" fmla="*/ 8167759 w 8167759"/>
              <a:gd name="connsiteY1" fmla="*/ 0 h 5104181"/>
              <a:gd name="connsiteX2" fmla="*/ 8165944 w 8167759"/>
              <a:gd name="connsiteY2" fmla="*/ 5104181 h 5104181"/>
              <a:gd name="connsiteX3" fmla="*/ 6176758 w 8167759"/>
              <a:gd name="connsiteY3" fmla="*/ 4454163 h 5104181"/>
              <a:gd name="connsiteX4" fmla="*/ 0 w 8167759"/>
              <a:gd name="connsiteY4" fmla="*/ 2496486 h 5104181"/>
              <a:gd name="connsiteX0" fmla="*/ 0 w 8167759"/>
              <a:gd name="connsiteY0" fmla="*/ 2496486 h 5104181"/>
              <a:gd name="connsiteX1" fmla="*/ 8167759 w 8167759"/>
              <a:gd name="connsiteY1" fmla="*/ 0 h 5104181"/>
              <a:gd name="connsiteX2" fmla="*/ 8165944 w 8167759"/>
              <a:gd name="connsiteY2" fmla="*/ 5104181 h 5104181"/>
              <a:gd name="connsiteX3" fmla="*/ 0 w 8167759"/>
              <a:gd name="connsiteY3" fmla="*/ 2496486 h 5104181"/>
              <a:gd name="connsiteX0" fmla="*/ 0 w 8203462"/>
              <a:gd name="connsiteY0" fmla="*/ 2511787 h 5119482"/>
              <a:gd name="connsiteX1" fmla="*/ 8203462 w 8203462"/>
              <a:gd name="connsiteY1" fmla="*/ 0 h 5119482"/>
              <a:gd name="connsiteX2" fmla="*/ 8165944 w 8203462"/>
              <a:gd name="connsiteY2" fmla="*/ 5119482 h 5119482"/>
              <a:gd name="connsiteX3" fmla="*/ 0 w 8203462"/>
              <a:gd name="connsiteY3" fmla="*/ 2511787 h 5119482"/>
              <a:gd name="connsiteX0" fmla="*/ 0 w 8203462"/>
              <a:gd name="connsiteY0" fmla="*/ 2511787 h 4986874"/>
              <a:gd name="connsiteX1" fmla="*/ 8203462 w 8203462"/>
              <a:gd name="connsiteY1" fmla="*/ 0 h 4986874"/>
              <a:gd name="connsiteX2" fmla="*/ 8201647 w 8203462"/>
              <a:gd name="connsiteY2" fmla="*/ 4986874 h 4986874"/>
              <a:gd name="connsiteX3" fmla="*/ 0 w 8203462"/>
              <a:gd name="connsiteY3" fmla="*/ 2511787 h 4986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03462" h="4986874">
                <a:moveTo>
                  <a:pt x="0" y="2511787"/>
                </a:moveTo>
                <a:lnTo>
                  <a:pt x="8203462" y="0"/>
                </a:lnTo>
                <a:lnTo>
                  <a:pt x="8201647" y="4986874"/>
                </a:lnTo>
                <a:lnTo>
                  <a:pt x="0" y="2511787"/>
                </a:lnTo>
                <a:close/>
              </a:path>
            </a:pathLst>
          </a:custGeom>
          <a:gradFill flip="none" rotWithShape="1">
            <a:gsLst>
              <a:gs pos="0">
                <a:srgbClr val="7ABB9D">
                  <a:alpha val="75000"/>
                </a:srgbClr>
              </a:gs>
              <a:gs pos="100000">
                <a:srgbClr val="D1E0D7">
                  <a:alpha val="1000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bIns="731520" anchor="ctr" anchorCtr="0">
            <a:normAutofit/>
          </a:bodyPr>
          <a:lstStyle>
            <a:lvl1pPr algn="ctr">
              <a:defRPr sz="1100" b="0" baseline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o not place image in this box, should sit on top of image, </a:t>
            </a:r>
            <a:br>
              <a:rPr lang="en-US" dirty="0"/>
            </a:br>
            <a:r>
              <a:rPr lang="en-US" dirty="0"/>
              <a:t>this text will not display in presentation mod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14" name="Isosceles Triangle 13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-77991" y="4591809"/>
            <a:ext cx="10108271" cy="2298355"/>
          </a:xfrm>
          <a:custGeom>
            <a:avLst/>
            <a:gdLst>
              <a:gd name="connsiteX0" fmla="*/ 0 w 9161463"/>
              <a:gd name="connsiteY0" fmla="*/ 0 h 3797300"/>
              <a:gd name="connsiteX1" fmla="*/ 9161463 w 9161463"/>
              <a:gd name="connsiteY1" fmla="*/ 0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9138783 w 9161463"/>
              <a:gd name="connsiteY1" fmla="*/ 2789695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679157 w 9161463"/>
              <a:gd name="connsiteY1" fmla="*/ 208569 h 3797300"/>
              <a:gd name="connsiteX2" fmla="*/ 9138783 w 9161463"/>
              <a:gd name="connsiteY2" fmla="*/ 2789695 h 3797300"/>
              <a:gd name="connsiteX3" fmla="*/ 9161463 w 9161463"/>
              <a:gd name="connsiteY3" fmla="*/ 3797300 h 3797300"/>
              <a:gd name="connsiteX4" fmla="*/ 0 w 9161463"/>
              <a:gd name="connsiteY4" fmla="*/ 3797300 h 3797300"/>
              <a:gd name="connsiteX5" fmla="*/ 0 w 9161463"/>
              <a:gd name="connsiteY5" fmla="*/ 0 h 3797300"/>
              <a:gd name="connsiteX0" fmla="*/ 0 w 9161463"/>
              <a:gd name="connsiteY0" fmla="*/ 226105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6105 h 3588731"/>
              <a:gd name="connsiteX0" fmla="*/ 0 w 9161463"/>
              <a:gd name="connsiteY0" fmla="*/ 222930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2930 h 3588731"/>
              <a:gd name="connsiteX0" fmla="*/ 0 w 9161463"/>
              <a:gd name="connsiteY0" fmla="*/ 222930 h 3588731"/>
              <a:gd name="connsiteX1" fmla="*/ 679157 w 9161463"/>
              <a:gd name="connsiteY1" fmla="*/ 0 h 3588731"/>
              <a:gd name="connsiteX2" fmla="*/ 8268833 w 9161463"/>
              <a:gd name="connsiteY2" fmla="*/ 2279501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2930 h 3588731"/>
              <a:gd name="connsiteX0" fmla="*/ 0 w 9161463"/>
              <a:gd name="connsiteY0" fmla="*/ 3588731 h 3588731"/>
              <a:gd name="connsiteX1" fmla="*/ 679157 w 9161463"/>
              <a:gd name="connsiteY1" fmla="*/ 0 h 3588731"/>
              <a:gd name="connsiteX2" fmla="*/ 8268833 w 9161463"/>
              <a:gd name="connsiteY2" fmla="*/ 2279501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0" fmla="*/ 29818 w 8482306"/>
              <a:gd name="connsiteY0" fmla="*/ 2283052 h 3588731"/>
              <a:gd name="connsiteX1" fmla="*/ 0 w 8482306"/>
              <a:gd name="connsiteY1" fmla="*/ 0 h 3588731"/>
              <a:gd name="connsiteX2" fmla="*/ 7589676 w 8482306"/>
              <a:gd name="connsiteY2" fmla="*/ 2279501 h 3588731"/>
              <a:gd name="connsiteX3" fmla="*/ 8482306 w 8482306"/>
              <a:gd name="connsiteY3" fmla="*/ 3588731 h 3588731"/>
              <a:gd name="connsiteX4" fmla="*/ 29818 w 8482306"/>
              <a:gd name="connsiteY4" fmla="*/ 2283052 h 3588731"/>
              <a:gd name="connsiteX0" fmla="*/ 29818 w 7589676"/>
              <a:gd name="connsiteY0" fmla="*/ 2283052 h 2283052"/>
              <a:gd name="connsiteX1" fmla="*/ 0 w 7589676"/>
              <a:gd name="connsiteY1" fmla="*/ 0 h 2283052"/>
              <a:gd name="connsiteX2" fmla="*/ 7589676 w 7589676"/>
              <a:gd name="connsiteY2" fmla="*/ 2279501 h 2283052"/>
              <a:gd name="connsiteX3" fmla="*/ 29818 w 7589676"/>
              <a:gd name="connsiteY3" fmla="*/ 2283052 h 2283052"/>
              <a:gd name="connsiteX0" fmla="*/ 14516 w 7574374"/>
              <a:gd name="connsiteY0" fmla="*/ 2288153 h 2288153"/>
              <a:gd name="connsiteX1" fmla="*/ 0 w 7574374"/>
              <a:gd name="connsiteY1" fmla="*/ 0 h 2288153"/>
              <a:gd name="connsiteX2" fmla="*/ 7574374 w 7574374"/>
              <a:gd name="connsiteY2" fmla="*/ 2284602 h 2288153"/>
              <a:gd name="connsiteX3" fmla="*/ 14516 w 7574374"/>
              <a:gd name="connsiteY3" fmla="*/ 2288153 h 2288153"/>
              <a:gd name="connsiteX0" fmla="*/ 739 w 7586100"/>
              <a:gd name="connsiteY0" fmla="*/ 2293254 h 2293254"/>
              <a:gd name="connsiteX1" fmla="*/ 11726 w 7586100"/>
              <a:gd name="connsiteY1" fmla="*/ 0 h 2293254"/>
              <a:gd name="connsiteX2" fmla="*/ 7586100 w 7586100"/>
              <a:gd name="connsiteY2" fmla="*/ 2284602 h 2293254"/>
              <a:gd name="connsiteX3" fmla="*/ 739 w 7586100"/>
              <a:gd name="connsiteY3" fmla="*/ 2293254 h 2293254"/>
              <a:gd name="connsiteX0" fmla="*/ 9416 w 7574374"/>
              <a:gd name="connsiteY0" fmla="*/ 2293254 h 2293254"/>
              <a:gd name="connsiteX1" fmla="*/ 0 w 7574374"/>
              <a:gd name="connsiteY1" fmla="*/ 0 h 2293254"/>
              <a:gd name="connsiteX2" fmla="*/ 7574374 w 7574374"/>
              <a:gd name="connsiteY2" fmla="*/ 2284602 h 2293254"/>
              <a:gd name="connsiteX3" fmla="*/ 9416 w 7574374"/>
              <a:gd name="connsiteY3" fmla="*/ 2293254 h 2293254"/>
              <a:gd name="connsiteX0" fmla="*/ 944 w 7581203"/>
              <a:gd name="connsiteY0" fmla="*/ 2298355 h 2298355"/>
              <a:gd name="connsiteX1" fmla="*/ 6829 w 7581203"/>
              <a:gd name="connsiteY1" fmla="*/ 0 h 2298355"/>
              <a:gd name="connsiteX2" fmla="*/ 7581203 w 7581203"/>
              <a:gd name="connsiteY2" fmla="*/ 2284602 h 2298355"/>
              <a:gd name="connsiteX3" fmla="*/ 944 w 7581203"/>
              <a:gd name="connsiteY3" fmla="*/ 2298355 h 2298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81203" h="2298355">
                <a:moveTo>
                  <a:pt x="944" y="2298355"/>
                </a:moveTo>
                <a:cubicBezTo>
                  <a:pt x="-3895" y="1535637"/>
                  <a:pt x="11668" y="762718"/>
                  <a:pt x="6829" y="0"/>
                </a:cubicBezTo>
                <a:lnTo>
                  <a:pt x="7581203" y="2284602"/>
                </a:lnTo>
                <a:lnTo>
                  <a:pt x="944" y="2298355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bIns="182880" anchor="b" anchorCtr="0">
            <a:normAutofit/>
          </a:bodyPr>
          <a:lstStyle>
            <a:lvl1pPr algn="ctr">
              <a:defRPr sz="1000" baseline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r>
              <a:rPr lang="en-US" dirty="0"/>
              <a:t>ignore this box will appear blank in presentation mode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919993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501" y="329187"/>
            <a:ext cx="10972784" cy="813503"/>
          </a:xfrm>
        </p:spPr>
        <p:txBody>
          <a:bodyPr anchor="b" anchorCtr="0"/>
          <a:lstStyle>
            <a:lvl1pPr>
              <a:lnSpc>
                <a:spcPts val="3000"/>
              </a:lnSpc>
              <a:defRPr sz="28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11720" y="1325880"/>
            <a:ext cx="10968567" cy="43708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Picture Placeholder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50" y="6289154"/>
            <a:ext cx="2983576" cy="37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4632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501" y="329187"/>
            <a:ext cx="10972784" cy="813503"/>
          </a:xfrm>
        </p:spPr>
        <p:txBody>
          <a:bodyPr anchor="b" anchorCtr="0"/>
          <a:lstStyle>
            <a:lvl1pPr>
              <a:lnSpc>
                <a:spcPts val="3000"/>
              </a:lnSpc>
              <a:defRPr sz="28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400800" y="1325880"/>
            <a:ext cx="5181600" cy="4370832"/>
          </a:xfrm>
        </p:spPr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  <a:lvl2pPr>
              <a:defRPr>
                <a:solidFill>
                  <a:srgbClr val="555457"/>
                </a:solidFill>
              </a:defRPr>
            </a:lvl2pPr>
            <a:lvl3pPr>
              <a:defRPr>
                <a:solidFill>
                  <a:srgbClr val="555457"/>
                </a:solidFill>
              </a:defRPr>
            </a:lvl3pPr>
            <a:lvl4pPr>
              <a:defRPr>
                <a:solidFill>
                  <a:srgbClr val="555457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1416" y="1323975"/>
            <a:ext cx="5181600" cy="43708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8" name="Picture Placeholder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50" y="6289154"/>
            <a:ext cx="2983576" cy="37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1932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Contents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501" y="329187"/>
            <a:ext cx="10972784" cy="813503"/>
          </a:xfrm>
        </p:spPr>
        <p:txBody>
          <a:bodyPr anchor="b" anchorCtr="0"/>
          <a:lstStyle>
            <a:lvl1pPr>
              <a:lnSpc>
                <a:spcPts val="3000"/>
              </a:lnSpc>
              <a:defRPr sz="28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400800" y="5764230"/>
            <a:ext cx="2470048" cy="30954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ts val="1200"/>
              </a:lnSpc>
              <a:buNone/>
              <a:defRPr sz="9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caption style if neede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400800" y="1323975"/>
            <a:ext cx="5181600" cy="43672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10701" y="1323976"/>
            <a:ext cx="5181685" cy="43708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9" name="Picture Placeholder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50" y="6289154"/>
            <a:ext cx="2983576" cy="37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6074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501" y="329185"/>
            <a:ext cx="10972784" cy="813816"/>
          </a:xfrm>
        </p:spPr>
        <p:txBody>
          <a:bodyPr anchor="b" anchorCtr="0"/>
          <a:lstStyle>
            <a:lvl1pPr marL="0" algn="l" defTabSz="40815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en-US" sz="2800" b="0" i="0" kern="1200" dirty="0">
                <a:solidFill>
                  <a:schemeClr val="tx2"/>
                </a:solidFill>
                <a:latin typeface="微软雅黑" panose="020B0503020204020204" pitchFamily="34" charset="-122"/>
                <a:ea typeface="+mj-ea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1653" y="4754883"/>
            <a:ext cx="5181600" cy="584775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0">
                <a:solidFill>
                  <a:srgbClr val="555457"/>
                </a:solidFill>
              </a:defRPr>
            </a:lvl1pPr>
            <a:lvl2pPr marL="0" indent="0">
              <a:lnSpc>
                <a:spcPts val="1200"/>
              </a:lnSpc>
              <a:spcBef>
                <a:spcPts val="300"/>
              </a:spcBef>
              <a:buNone/>
              <a:defRPr sz="1000">
                <a:solidFill>
                  <a:srgbClr val="555457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600" y="1280161"/>
            <a:ext cx="5181600" cy="30954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lnSpc>
                <a:spcPts val="1200"/>
              </a:lnSpc>
              <a:buNone/>
              <a:defRPr sz="10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6416103" y="4754883"/>
            <a:ext cx="5181600" cy="584775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0">
                <a:solidFill>
                  <a:srgbClr val="555457"/>
                </a:solidFill>
              </a:defRPr>
            </a:lvl1pPr>
            <a:lvl2pPr marL="0" indent="0">
              <a:lnSpc>
                <a:spcPts val="1200"/>
              </a:lnSpc>
              <a:spcBef>
                <a:spcPts val="300"/>
              </a:spcBef>
              <a:buNone/>
              <a:defRPr sz="1000">
                <a:solidFill>
                  <a:srgbClr val="555457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6400800" y="1280161"/>
            <a:ext cx="5181600" cy="30954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lnSpc>
                <a:spcPts val="1200"/>
              </a:lnSpc>
              <a:buNone/>
              <a:defRPr sz="10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3"/>
          </p:nvPr>
        </p:nvSpPr>
        <p:spPr>
          <a:xfrm>
            <a:off x="601135" y="1690689"/>
            <a:ext cx="5173133" cy="29654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4"/>
          </p:nvPr>
        </p:nvSpPr>
        <p:spPr>
          <a:xfrm>
            <a:off x="6400799" y="1690690"/>
            <a:ext cx="5181600" cy="296574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12" name="Picture Placeholder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50" y="6289154"/>
            <a:ext cx="2983576" cy="37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901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501" y="329187"/>
            <a:ext cx="10972784" cy="813503"/>
          </a:xfrm>
        </p:spPr>
        <p:txBody>
          <a:bodyPr anchor="b" anchorCtr="0"/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pic>
        <p:nvPicPr>
          <p:cNvPr id="6" name="Picture Placeholder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50" y="6289154"/>
            <a:ext cx="2983576" cy="37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6080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CB0959-DA36-4691-BA0E-DE9B33A8F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42D2A71-2D26-4D2F-A587-3878F850A2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F4A5BB8-DA88-420C-B8A4-AACE58B4BB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6754BCC-E778-45BC-AF04-61F728DD4F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AC700BB-7335-47E7-951F-894526B66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41674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B848A70-1444-4DCE-B7CF-84D75C783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B58E25A-E8E9-452C-914F-0033E9994F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D957CBB8-F5EE-4B68-8E3B-D7E96D3C5B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C1E778E-A275-4A41-ABFF-6C4C3929D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7892E16-5D07-481B-AE1B-B35405989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80B11B2-5A55-484C-BD0F-1FEE1E6452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2577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7033F0-8AC3-49B5-8CC8-C68713ED3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022913A-8163-4246-9DFF-CE41A609C0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56E0A113-BE4E-4EB5-8943-EA1825BDEA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DCFADA95-174A-4BDA-8DC1-1681A59C91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9330288B-D75C-4353-B555-60767BBF9F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643B6C01-20F9-4647-B2D2-A495CF840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61452E57-DF48-4466-8C93-CF4F0F7CF3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8E6FEAE1-9CB6-4801-B278-48DD8B8DF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0895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4EEC8A0-2802-4EF7-BCCE-13B8E8D7D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F6701B71-A6E7-4A1F-B867-3647DDBC5A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4020E6F-2EDE-45CE-BD60-CA1D45BA5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D5E78C2-0688-4CCB-AD20-A841DE8E4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81920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23F5F22-3431-49F6-8518-EA33DAD347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5D1E5C4-BC15-4909-A89B-140200D60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15DFC2-3487-4A04-BE47-DD6701CD1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6621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384C8FB-468D-4B64-A33D-5E3B06B9CD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CC8D6AD-2D38-42FE-908E-19FF16BB0B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AE2776BD-9757-4C30-8B24-0A28E61B22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5B7E2DA-B2CA-4BD4-8558-4FB123A6C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C14B17C1-A956-4450-AFB4-97561CA31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3D357E5-3C19-45D5-8DC8-2387028C0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3787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B3D94D0-FEB1-405A-865B-6A56E991E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17D2FBCF-F351-4CD0-8802-069B1CDB2F8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04B69B9-7538-4A38-86AD-0352D70750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E52176A-DA5E-4222-A3E9-486623547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996B9F83-ED3D-42AC-975E-DD14DB034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9F3751D-C8A6-4F0C-828E-B037B0A90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952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1703F01-7C16-4C9C-AE21-15AE68C9F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9E711C8-520D-4143-92D1-94082BBDD3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2FB90A0-1B79-4979-9BCC-9B16AC7AD6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B23807-DD0F-4F1A-AEAD-423DA20BABB7}" type="datetimeFigureOut">
              <a:rPr lang="zh-CN" altLang="en-US" smtClean="0"/>
              <a:t>2022/8/1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F640099-BA71-4E23-8392-FF362A11E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3E6C710-A911-40C3-86C2-6C2A0F39CD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46C1979-178D-4D3A-AA9D-22FDA40CA31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248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87B67125-6B55-433D-B420-342490AF2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38495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9" imgW="530" imgH="531" progId="TCLayout.ActiveDocument.1">
                  <p:embed/>
                </p:oleObj>
              </mc:Choice>
              <mc:Fallback>
                <p:oleObj name="think-cell スライド" r:id="rId19" imgW="530" imgH="53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87B67125-6B55-433D-B420-342490AF2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585A0ACB-AEB8-4A6C-9DF9-70A6202E63A9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800" b="0" i="0" baseline="0" dirty="0">
              <a:latin typeface="微软雅黑" panose="020B0503020204020204" pitchFamily="34" charset="-122"/>
              <a:ea typeface="+mj-ea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3253" y="242886"/>
            <a:ext cx="10970683" cy="9021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8457" y="6538169"/>
            <a:ext cx="364077" cy="107723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marL="0" algn="l" defTabSz="408150" rtl="0" eaLnBrk="1" latinLnBrk="0" hangingPunct="1">
              <a:defRPr lang="en-US" sz="7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Arial" pitchFamily="34" charset="0"/>
              </a:defRPr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723629" y="6538169"/>
            <a:ext cx="5727531" cy="107723"/>
          </a:xfrm>
          <a:prstGeom prst="rect">
            <a:avLst/>
          </a:prstGeom>
        </p:spPr>
        <p:txBody>
          <a:bodyPr vert="horz" wrap="none" lIns="0" tIns="0" rIns="45720" bIns="0" rtlCol="0" anchor="ctr">
            <a:noAutofit/>
          </a:bodyPr>
          <a:lstStyle>
            <a:lvl1pPr algn="r">
              <a:defRPr sz="700" b="0">
                <a:solidFill>
                  <a:srgbClr val="555457"/>
                </a:solidFill>
                <a:latin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1644672"/>
            <a:ext cx="10972800" cy="40560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78493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dt="0"/>
  <p:txStyles>
    <p:titleStyle>
      <a:lvl1pPr algn="l" defTabSz="408150" rtl="0" eaLnBrk="1" latinLnBrk="0" hangingPunct="1">
        <a:lnSpc>
          <a:spcPts val="3200"/>
        </a:lnSpc>
        <a:spcBef>
          <a:spcPct val="0"/>
        </a:spcBef>
        <a:buNone/>
        <a:defRPr sz="2800" b="0" i="0" kern="1200">
          <a:solidFill>
            <a:schemeClr val="tx2"/>
          </a:solidFill>
          <a:latin typeface="微软雅黑" panose="020B0503020204020204" pitchFamily="34" charset="-122"/>
          <a:ea typeface="+mj-ea"/>
          <a:cs typeface="Calibri"/>
        </a:defRPr>
      </a:lvl1pPr>
    </p:titleStyle>
    <p:bodyStyle>
      <a:lvl1pPr marL="0" indent="0" algn="l" defTabSz="408150" rtl="0" eaLnBrk="1" latinLnBrk="0" hangingPunct="1">
        <a:lnSpc>
          <a:spcPts val="2400"/>
        </a:lnSpc>
        <a:spcBef>
          <a:spcPct val="20000"/>
        </a:spcBef>
        <a:buFont typeface="Arial"/>
        <a:buNone/>
        <a:defRPr sz="2000" b="0" i="0" kern="1200">
          <a:solidFill>
            <a:srgbClr val="555457"/>
          </a:solidFill>
          <a:latin typeface="微软雅黑" panose="020B0503020204020204" pitchFamily="34" charset="-122"/>
          <a:ea typeface="+mn-ea"/>
          <a:cs typeface="Calibri"/>
        </a:defRPr>
      </a:lvl1pPr>
      <a:lvl2pPr marL="173725" indent="-173725" algn="l" defTabSz="408150" rtl="0" eaLnBrk="1" latinLnBrk="0" hangingPunct="1">
        <a:lnSpc>
          <a:spcPts val="2000"/>
        </a:lnSpc>
        <a:spcBef>
          <a:spcPts val="600"/>
        </a:spcBef>
        <a:buClr>
          <a:schemeClr val="tx2"/>
        </a:buClr>
        <a:buFont typeface="Arial"/>
        <a:buChar char="•"/>
        <a:defRPr sz="2000" b="0" i="0" kern="1200">
          <a:solidFill>
            <a:srgbClr val="555457"/>
          </a:solidFill>
          <a:latin typeface="微软雅黑" panose="020B0503020204020204" pitchFamily="34" charset="-122"/>
          <a:ea typeface="+mn-ea"/>
          <a:cs typeface="Segoe Pro Light"/>
        </a:defRPr>
      </a:lvl2pPr>
      <a:lvl3pPr marL="320019" indent="-164582" algn="l" defTabSz="408150" rtl="0" eaLnBrk="1" latinLnBrk="0" hangingPunct="1">
        <a:lnSpc>
          <a:spcPts val="2000"/>
        </a:lnSpc>
        <a:spcBef>
          <a:spcPts val="500"/>
        </a:spcBef>
        <a:buClr>
          <a:schemeClr val="tx2"/>
        </a:buClr>
        <a:buFont typeface="Lucida Grande"/>
        <a:buChar char="–"/>
        <a:defRPr sz="1800" b="0" i="0" kern="1200">
          <a:solidFill>
            <a:srgbClr val="555457"/>
          </a:solidFill>
          <a:latin typeface="微软雅黑" panose="020B0503020204020204" pitchFamily="34" charset="-122"/>
          <a:ea typeface="+mn-ea"/>
          <a:cs typeface="Segoe Pro Light"/>
        </a:defRPr>
      </a:lvl3pPr>
      <a:lvl4pPr marL="512030" indent="-182868" algn="l" defTabSz="408150" rtl="0" eaLnBrk="1" latinLnBrk="0" hangingPunct="1">
        <a:lnSpc>
          <a:spcPts val="2000"/>
        </a:lnSpc>
        <a:spcBef>
          <a:spcPts val="400"/>
        </a:spcBef>
        <a:buClr>
          <a:schemeClr val="tx2"/>
        </a:buClr>
        <a:buFont typeface="Lucida Grande"/>
        <a:buChar char="»"/>
        <a:defRPr sz="1600" b="0" i="0" kern="1200">
          <a:solidFill>
            <a:srgbClr val="555457"/>
          </a:solidFill>
          <a:latin typeface="微软雅黑" panose="020B0503020204020204" pitchFamily="34" charset="-122"/>
          <a:ea typeface="+mn-ea"/>
          <a:cs typeface="Segoe Pro Light"/>
        </a:defRPr>
      </a:lvl4pPr>
      <a:lvl5pPr marL="1836672" indent="-204075" algn="l" defTabSz="408150" rtl="0" eaLnBrk="1" latinLnBrk="0" hangingPunct="1">
        <a:spcBef>
          <a:spcPct val="20000"/>
        </a:spcBef>
        <a:buFont typeface="Lucida Grande"/>
        <a:buChar char="»"/>
        <a:defRPr sz="2400" b="0" i="0" kern="1200">
          <a:solidFill>
            <a:schemeClr val="tx1">
              <a:lumMod val="75000"/>
            </a:schemeClr>
          </a:solidFill>
          <a:latin typeface="+mn-lt"/>
          <a:ea typeface="+mn-ea"/>
          <a:cs typeface="Segoe Pro Light"/>
        </a:defRPr>
      </a:lvl5pPr>
      <a:lvl6pPr marL="2244821" indent="-204075" algn="l" defTabSz="40815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2969" indent="-204075" algn="l" defTabSz="40815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61118" indent="-204075" algn="l" defTabSz="40815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9268" indent="-204075" algn="l" defTabSz="40815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50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297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447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596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747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8895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044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194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8730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C8709FF-810D-4153-AD88-CB9302FB7F3C}"/>
              </a:ext>
            </a:extLst>
          </p:cNvPr>
          <p:cNvSpPr txBox="1">
            <a:spLocks/>
          </p:cNvSpPr>
          <p:nvPr/>
        </p:nvSpPr>
        <p:spPr>
          <a:xfrm>
            <a:off x="1002661" y="124786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切口关闭（结合图片和视频）</a:t>
            </a:r>
            <a:endParaRPr 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EA6B4E2A-4236-4A1A-BB52-34EBE3DA02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8285855"/>
              </p:ext>
            </p:extLst>
          </p:nvPr>
        </p:nvGraphicFramePr>
        <p:xfrm>
          <a:off x="1134254" y="1765569"/>
          <a:ext cx="9403830" cy="343601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8807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0766">
                  <a:extLst>
                    <a:ext uri="{9D8B030D-6E8A-4147-A177-3AD203B41FA5}">
                      <a16:colId xmlns:a16="http://schemas.microsoft.com/office/drawing/2014/main" val="1502445542"/>
                    </a:ext>
                  </a:extLst>
                </a:gridCol>
                <a:gridCol w="18807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80766">
                  <a:extLst>
                    <a:ext uri="{9D8B030D-6E8A-4147-A177-3AD203B41FA5}">
                      <a16:colId xmlns:a16="http://schemas.microsoft.com/office/drawing/2014/main" val="2977107026"/>
                    </a:ext>
                  </a:extLst>
                </a:gridCol>
                <a:gridCol w="1880766">
                  <a:extLst>
                    <a:ext uri="{9D8B030D-6E8A-4147-A177-3AD203B41FA5}">
                      <a16:colId xmlns:a16="http://schemas.microsoft.com/office/drawing/2014/main" val="914478275"/>
                    </a:ext>
                  </a:extLst>
                </a:gridCol>
              </a:tblGrid>
              <a:tr h="51668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>
                          <a:effectLst/>
                        </a:rPr>
                        <a:t>层次</a:t>
                      </a:r>
                      <a:endParaRPr lang="en-GB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>
                          <a:effectLst/>
                        </a:rPr>
                        <a:t>缝合方式</a:t>
                      </a:r>
                      <a:endParaRPr lang="en-GB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>
                          <a:effectLst/>
                        </a:rPr>
                        <a:t>缝合材料</a:t>
                      </a:r>
                      <a:endParaRPr lang="en-GB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>
                          <a:effectLst/>
                        </a:rPr>
                        <a:t>闭合时间</a:t>
                      </a:r>
                      <a:endParaRPr lang="en-GB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>
                          <a:effectLst/>
                        </a:rPr>
                        <a:t>选择原因</a:t>
                      </a:r>
                      <a:endParaRPr lang="en-GB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50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99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650807"/>
                  </a:ext>
                </a:extLst>
              </a:tr>
              <a:tr h="103432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8352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86354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A138F12-1ECA-43F1-9AE7-DAFBD251A31F}"/>
              </a:ext>
            </a:extLst>
          </p:cNvPr>
          <p:cNvSpPr txBox="1">
            <a:spLocks/>
          </p:cNvSpPr>
          <p:nvPr/>
        </p:nvSpPr>
        <p:spPr>
          <a:xfrm>
            <a:off x="1009238" y="203728"/>
            <a:ext cx="10515600" cy="84227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术后伤口状况和运动功能（结合图片和视频展示）</a:t>
            </a:r>
            <a:endParaRPr lang="en-US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96953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3F120A4-5BC6-46A8-B981-1210D5B46152}"/>
              </a:ext>
            </a:extLst>
          </p:cNvPr>
          <p:cNvSpPr txBox="1">
            <a:spLocks/>
          </p:cNvSpPr>
          <p:nvPr/>
        </p:nvSpPr>
        <p:spPr>
          <a:xfrm>
            <a:off x="1012833" y="147657"/>
            <a:ext cx="8596668" cy="66429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术后切口管理评估</a:t>
            </a:r>
            <a:endParaRPr 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DED745E1-6DC7-49C2-8E7A-CAF6A19D59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4055084"/>
              </p:ext>
            </p:extLst>
          </p:nvPr>
        </p:nvGraphicFramePr>
        <p:xfrm>
          <a:off x="700890" y="1528998"/>
          <a:ext cx="10649598" cy="380831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6049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878">
                  <a:extLst>
                    <a:ext uri="{9D8B030D-6E8A-4147-A177-3AD203B41FA5}">
                      <a16:colId xmlns:a16="http://schemas.microsoft.com/office/drawing/2014/main" val="2464474587"/>
                    </a:ext>
                  </a:extLst>
                </a:gridCol>
                <a:gridCol w="1774933">
                  <a:extLst>
                    <a:ext uri="{9D8B030D-6E8A-4147-A177-3AD203B41FA5}">
                      <a16:colId xmlns:a16="http://schemas.microsoft.com/office/drawing/2014/main" val="452976797"/>
                    </a:ext>
                  </a:extLst>
                </a:gridCol>
                <a:gridCol w="1774933">
                  <a:extLst>
                    <a:ext uri="{9D8B030D-6E8A-4147-A177-3AD203B41FA5}">
                      <a16:colId xmlns:a16="http://schemas.microsoft.com/office/drawing/2014/main" val="4242368745"/>
                    </a:ext>
                  </a:extLst>
                </a:gridCol>
                <a:gridCol w="1774933">
                  <a:extLst>
                    <a:ext uri="{9D8B030D-6E8A-4147-A177-3AD203B41FA5}">
                      <a16:colId xmlns:a16="http://schemas.microsoft.com/office/drawing/2014/main" val="272866341"/>
                    </a:ext>
                  </a:extLst>
                </a:gridCol>
                <a:gridCol w="1774933">
                  <a:extLst>
                    <a:ext uri="{9D8B030D-6E8A-4147-A177-3AD203B41FA5}">
                      <a16:colId xmlns:a16="http://schemas.microsoft.com/office/drawing/2014/main" val="3314198263"/>
                    </a:ext>
                  </a:extLst>
                </a:gridCol>
              </a:tblGrid>
              <a:tr h="495736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切口敷料</a:t>
                      </a:r>
                      <a:endParaRPr lang="en-GB" altLang="zh-CN" sz="18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切口管理评估</a:t>
                      </a:r>
                      <a:endParaRPr lang="en-GB" altLang="zh-CN" sz="18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>
                          <a:solidFill>
                            <a:schemeClr val="bg1"/>
                          </a:solidFill>
                          <a:effectLst/>
                        </a:rPr>
                        <a:t>评估结论</a:t>
                      </a:r>
                      <a:endParaRPr lang="en-GB" altLang="zh-CN" sz="18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4425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评估指标</a:t>
                      </a:r>
                      <a:endParaRPr lang="en-GB" altLang="zh-CN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术后第</a:t>
                      </a:r>
                      <a:r>
                        <a:rPr lang="en-US" altLang="zh-CN" sz="16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6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天</a:t>
                      </a:r>
                      <a:endParaRPr lang="en-GB" altLang="zh-CN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术后第？天</a:t>
                      </a:r>
                      <a:endParaRPr lang="en-GB" altLang="zh-CN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出院前</a:t>
                      </a:r>
                      <a:endParaRPr lang="en-GB" altLang="zh-CN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58223904"/>
                  </a:ext>
                </a:extLst>
              </a:tr>
              <a:tr h="495736">
                <a:tc rowSpan="5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伤口外观评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3409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出血量评估</a:t>
                      </a:r>
                      <a:endParaRPr lang="en-GB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650807"/>
                  </a:ext>
                </a:extLst>
              </a:tr>
              <a:tr h="495736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换药疼痛评分</a:t>
                      </a:r>
                      <a:endParaRPr lang="en-GB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1835275"/>
                  </a:ext>
                </a:extLst>
              </a:tr>
              <a:tr h="86753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患者功能活动</a:t>
                      </a:r>
                      <a:endParaRPr lang="en-US" altLang="zh-CN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CN" altLang="en-US" sz="18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舒适度评估</a:t>
                      </a:r>
                      <a:endParaRPr lang="en-GB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81114"/>
                  </a:ext>
                </a:extLst>
              </a:tr>
              <a:tr h="495736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感染状况评估</a:t>
                      </a:r>
                      <a:endParaRPr lang="zh-CN" altLang="en-US" b="0" dirty="0">
                        <a:solidFill>
                          <a:schemeClr val="tx1"/>
                        </a:solidFill>
                        <a:latin typeface="+mn-ea"/>
                        <a:ea typeface="+mn-ea"/>
                        <a:sym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44244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9309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AE04F29-DD59-4ADB-903B-539F088CF2A6}"/>
              </a:ext>
            </a:extLst>
          </p:cNvPr>
          <p:cNvSpPr txBox="1">
            <a:spLocks/>
          </p:cNvSpPr>
          <p:nvPr/>
        </p:nvSpPr>
        <p:spPr>
          <a:xfrm>
            <a:off x="969768" y="151100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术后运动功能评估</a:t>
            </a:r>
            <a:endParaRPr 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382772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BF14DD9-11AD-4383-B7F9-E90060A63386}"/>
              </a:ext>
            </a:extLst>
          </p:cNvPr>
          <p:cNvSpPr txBox="1">
            <a:spLocks/>
          </p:cNvSpPr>
          <p:nvPr/>
        </p:nvSpPr>
        <p:spPr>
          <a:xfrm>
            <a:off x="1035553" y="170835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案例总结（经验与分享）</a:t>
            </a:r>
            <a:endParaRPr 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439754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6F82E6A8-1E43-4960-A09D-9A52E9E139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marL="0" marR="0" lvl="0" indent="0" algn="l" defTabSz="4081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9C4E4A-24B1-A040-9638-6A18D713F4CA}" type="slidenum"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717074"/>
                </a:solidFill>
                <a:effectLst/>
                <a:uLnTx/>
                <a:uFillTx/>
                <a:ea typeface="+mn-ea"/>
              </a:rPr>
              <a:pPr marL="0" marR="0" lvl="0" indent="0" algn="l" defTabSz="4081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717074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EC705F42-1512-4FED-ADA3-D803A4775357}"/>
              </a:ext>
            </a:extLst>
          </p:cNvPr>
          <p:cNvSpPr/>
          <p:nvPr/>
        </p:nvSpPr>
        <p:spPr>
          <a:xfrm>
            <a:off x="10920499" y="6581001"/>
            <a:ext cx="13292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717074"/>
                </a:solidFill>
                <a:effectLst/>
                <a:uLnTx/>
                <a:uFillTx/>
                <a:latin typeface="微软雅黑" panose="020B0503020204020204" pitchFamily="34" charset="-122"/>
                <a:ea typeface="游ゴシック" panose="020B0400000000000000" pitchFamily="50" charset="-128"/>
                <a:cs typeface="Arial" panose="020B0604020202020204" pitchFamily="34" charset="0"/>
              </a:rPr>
              <a:t>110850-190402</a:t>
            </a:r>
            <a:endParaRPr kumimoji="0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717074"/>
              </a:solidFill>
              <a:effectLst/>
              <a:uLnTx/>
              <a:uFillTx/>
              <a:latin typeface="微软雅黑" panose="020B0503020204020204" pitchFamily="34" charset="-122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EBDF8F2-7353-48BB-8432-0290DE170C21}"/>
              </a:ext>
            </a:extLst>
          </p:cNvPr>
          <p:cNvSpPr txBox="1"/>
          <p:nvPr/>
        </p:nvSpPr>
        <p:spPr>
          <a:xfrm>
            <a:off x="3555332" y="2767280"/>
            <a:ext cx="508133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848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黑体" panose="02010609060101010101" pitchFamily="49" charset="-122"/>
                <a:cs typeface="+mn-cs"/>
              </a:rPr>
              <a:t>Thank you!</a:t>
            </a:r>
            <a:endParaRPr kumimoji="0" lang="zh-CN" altLang="en-US" sz="8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 pitchFamily="34" charset="0"/>
              <a:ea typeface="黑体" panose="02010609060101010101" pitchFamily="49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55903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9E61D9E-C189-482E-A551-6F7642EFC610}"/>
              </a:ext>
            </a:extLst>
          </p:cNvPr>
          <p:cNvSpPr txBox="1">
            <a:spLocks/>
          </p:cNvSpPr>
          <p:nvPr/>
        </p:nvSpPr>
        <p:spPr>
          <a:xfrm>
            <a:off x="1474348" y="1308343"/>
            <a:ext cx="8596668" cy="182658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病例名称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3F589B19-6FB2-421F-AA08-ACCE0875407F}"/>
              </a:ext>
            </a:extLst>
          </p:cNvPr>
          <p:cNvSpPr txBox="1">
            <a:spLocks/>
          </p:cNvSpPr>
          <p:nvPr/>
        </p:nvSpPr>
        <p:spPr>
          <a:xfrm>
            <a:off x="1474348" y="3134924"/>
            <a:ext cx="8596668" cy="860400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**医院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**医生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83848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CA9EAE80-1C12-43B8-AE3F-C6D50514FC8D}"/>
              </a:ext>
            </a:extLst>
          </p:cNvPr>
          <p:cNvSpPr txBox="1">
            <a:spLocks/>
          </p:cNvSpPr>
          <p:nvPr/>
        </p:nvSpPr>
        <p:spPr>
          <a:xfrm>
            <a:off x="937591" y="209024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病例收集要求</a:t>
            </a:r>
            <a:endParaRPr 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0AEC317-DC5B-44B8-9D32-6B7724387BEF}"/>
              </a:ext>
            </a:extLst>
          </p:cNvPr>
          <p:cNvSpPr txBox="1">
            <a:spLocks/>
          </p:cNvSpPr>
          <p:nvPr/>
        </p:nvSpPr>
        <p:spPr>
          <a:xfrm>
            <a:off x="113204" y="1201425"/>
            <a:ext cx="11965592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病程清晰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手术过程请简化描述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切口管理部分内容不得少于总时间的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专科设置：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2">
              <a:lnSpc>
                <a:spcPct val="150000"/>
              </a:lnSpc>
              <a:buSzPct val="70000"/>
              <a:buFont typeface="Wingdings" panose="05000000000000000000" pitchFamily="2" charset="2"/>
              <a:buChar char="v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 关节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膝关节置换术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髋关节置换术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 lvl="2">
              <a:lnSpc>
                <a:spcPct val="150000"/>
              </a:lnSpc>
              <a:buSzPct val="70000"/>
              <a:buFont typeface="Wingdings" panose="05000000000000000000" pitchFamily="2" charset="2"/>
              <a:buChar char="v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 创伤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胫骨平台骨折、骨盆髋臼骨折、肱骨近端骨折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ilon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骨折，锁骨骨折，尺桡骨远端骨折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2">
              <a:lnSpc>
                <a:spcPct val="150000"/>
              </a:lnSpc>
              <a:buSzPct val="70000"/>
              <a:buFont typeface="Wingdings" panose="05000000000000000000" pitchFamily="2" charset="2"/>
              <a:buChar char="v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 脊柱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胸腰椎后正中开放和颈椎后正中开放切口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D433D5-FEC2-4D4E-B8F4-A09B8F0618D0}"/>
              </a:ext>
            </a:extLst>
          </p:cNvPr>
          <p:cNvSpPr txBox="1"/>
          <p:nvPr/>
        </p:nvSpPr>
        <p:spPr>
          <a:xfrm>
            <a:off x="937591" y="5702889"/>
            <a:ext cx="3209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highlight>
                  <a:srgbClr val="FFFF00"/>
                </a:highlight>
              </a:rPr>
              <a:t>此页在分享时请删除</a:t>
            </a:r>
            <a:endParaRPr 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2116418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7D54D44-5909-497C-B686-B5C5CA031242}"/>
              </a:ext>
            </a:extLst>
          </p:cNvPr>
          <p:cNvSpPr txBox="1">
            <a:spLocks/>
          </p:cNvSpPr>
          <p:nvPr/>
        </p:nvSpPr>
        <p:spPr>
          <a:xfrm>
            <a:off x="987274" y="140959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病情阐述</a:t>
            </a:r>
            <a:endParaRPr 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7253C35-987A-447D-B3F6-2BBA19AA098F}"/>
              </a:ext>
            </a:extLst>
          </p:cNvPr>
          <p:cNvSpPr txBox="1">
            <a:spLocks/>
          </p:cNvSpPr>
          <p:nvPr/>
        </p:nvSpPr>
        <p:spPr>
          <a:xfrm>
            <a:off x="931662" y="1166360"/>
            <a:ext cx="10010653" cy="41522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般资料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诉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病史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284554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F63CC94A-9B34-45C8-8AA7-2E1A9DFE157C}"/>
              </a:ext>
            </a:extLst>
          </p:cNvPr>
          <p:cNvSpPr txBox="1">
            <a:spLocks/>
          </p:cNvSpPr>
          <p:nvPr/>
        </p:nvSpPr>
        <p:spPr>
          <a:xfrm>
            <a:off x="1009239" y="157679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案例背景介绍</a:t>
            </a:r>
            <a:r>
              <a:rPr lang="en-US" altLang="zh-CN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-</a:t>
            </a:r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查体</a:t>
            </a:r>
            <a:endParaRPr 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01000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86D2757-9F7B-4F5A-8A08-0DD19DDD5D39}"/>
              </a:ext>
            </a:extLst>
          </p:cNvPr>
          <p:cNvSpPr txBox="1">
            <a:spLocks/>
          </p:cNvSpPr>
          <p:nvPr/>
        </p:nvSpPr>
        <p:spPr>
          <a:xfrm>
            <a:off x="1022395" y="164257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案例背景介绍</a:t>
            </a:r>
            <a:r>
              <a:rPr lang="en-US" altLang="zh-CN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术前切口风险评估</a:t>
            </a:r>
            <a:endParaRPr 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3F7D6AC-EA0D-4EEC-A619-015E547C082D}"/>
              </a:ext>
            </a:extLst>
          </p:cNvPr>
          <p:cNvSpPr txBox="1">
            <a:spLocks/>
          </p:cNvSpPr>
          <p:nvPr/>
        </p:nvSpPr>
        <p:spPr>
          <a:xfrm>
            <a:off x="1022395" y="1141470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</a:rPr>
              <a:t>并存疾病：</a:t>
            </a:r>
            <a:endParaRPr lang="en-US" altLang="zh-CN" sz="20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</a:rPr>
              <a:t>不良生活习惯：</a:t>
            </a:r>
            <a:endParaRPr lang="en-US" altLang="zh-CN" sz="20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</a:rPr>
              <a:t>手术技术因素：</a:t>
            </a:r>
            <a:endParaRPr lang="en-US" altLang="zh-CN" sz="200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>
                <a:latin typeface="微软雅黑" panose="020B0503020204020204" pitchFamily="34" charset="-122"/>
                <a:ea typeface="微软雅黑" panose="020B0503020204020204" pitchFamily="34" charset="-122"/>
              </a:rPr>
              <a:t>药物使用：</a:t>
            </a:r>
            <a:endParaRPr 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136181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BC1EDDB-559E-4B1B-A517-C683FD66C403}"/>
              </a:ext>
            </a:extLst>
          </p:cNvPr>
          <p:cNvSpPr txBox="1">
            <a:spLocks/>
          </p:cNvSpPr>
          <p:nvPr/>
        </p:nvSpPr>
        <p:spPr>
          <a:xfrm>
            <a:off x="1075023" y="170835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案例背景介绍</a:t>
            </a:r>
            <a:r>
              <a:rPr lang="en-US" altLang="zh-CN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-</a:t>
            </a:r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影像学资料</a:t>
            </a:r>
            <a:endParaRPr 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348541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B95F6E2-E609-4012-8694-A2180F60CC8A}"/>
              </a:ext>
            </a:extLst>
          </p:cNvPr>
          <p:cNvSpPr txBox="1">
            <a:spLocks/>
          </p:cNvSpPr>
          <p:nvPr/>
        </p:nvSpPr>
        <p:spPr>
          <a:xfrm>
            <a:off x="1002660" y="137943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手术方案</a:t>
            </a:r>
            <a:endParaRPr 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326725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9EECB90-CA45-4341-A82F-EF9A84BD4E5C}"/>
              </a:ext>
            </a:extLst>
          </p:cNvPr>
          <p:cNvSpPr txBox="1">
            <a:spLocks/>
          </p:cNvSpPr>
          <p:nvPr/>
        </p:nvSpPr>
        <p:spPr>
          <a:xfrm>
            <a:off x="1002660" y="190570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手术操作过程（结合图片和视频展示）</a:t>
            </a:r>
            <a:endParaRPr 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69294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aVpbq_2E0yXwICupL1w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Ethicon">
      <a:dk1>
        <a:srgbClr val="717074"/>
      </a:dk1>
      <a:lt1>
        <a:srgbClr val="FFFFFF"/>
      </a:lt1>
      <a:dk2>
        <a:srgbClr val="F30617"/>
      </a:dk2>
      <a:lt2>
        <a:srgbClr val="FFFFFF"/>
      </a:lt2>
      <a:accent1>
        <a:srgbClr val="B4B4B4"/>
      </a:accent1>
      <a:accent2>
        <a:srgbClr val="CF4520"/>
      </a:accent2>
      <a:accent3>
        <a:srgbClr val="ED8B00"/>
      </a:accent3>
      <a:accent4>
        <a:srgbClr val="FFC800"/>
      </a:accent4>
      <a:accent5>
        <a:srgbClr val="004C97"/>
      </a:accent5>
      <a:accent6>
        <a:srgbClr val="64A70B"/>
      </a:accent6>
      <a:hlink>
        <a:srgbClr val="CF4520"/>
      </a:hlink>
      <a:folHlink>
        <a:srgbClr val="ED8B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3</TotalTime>
  <Words>234</Words>
  <Application>Microsoft Office PowerPoint</Application>
  <PresentationFormat>宽屏</PresentationFormat>
  <Paragraphs>52</Paragraphs>
  <Slides>1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6" baseType="lpstr">
      <vt:lpstr>Lucida Grande</vt:lpstr>
      <vt:lpstr>等线</vt:lpstr>
      <vt:lpstr>等线 Light</vt:lpstr>
      <vt:lpstr>微软雅黑</vt:lpstr>
      <vt:lpstr>Arial</vt:lpstr>
      <vt:lpstr>Calibri</vt:lpstr>
      <vt:lpstr>Corbel</vt:lpstr>
      <vt:lpstr>Wingdings</vt:lpstr>
      <vt:lpstr>Office 主题​​</vt:lpstr>
      <vt:lpstr>Default Theme</vt:lpstr>
      <vt:lpstr>think-cell スライド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enovo23</dc:creator>
  <cp:lastModifiedBy>Qu, Rui [MEDCN]</cp:lastModifiedBy>
  <cp:revision>9</cp:revision>
  <dcterms:created xsi:type="dcterms:W3CDTF">2021-04-01T02:44:56Z</dcterms:created>
  <dcterms:modified xsi:type="dcterms:W3CDTF">2022-08-16T03:04:33Z</dcterms:modified>
</cp:coreProperties>
</file>